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36"/>
  </p:notesMasterIdLst>
  <p:handoutMasterIdLst>
    <p:handoutMasterId r:id="rId37"/>
  </p:handoutMasterIdLst>
  <p:sldIdLst>
    <p:sldId id="497" r:id="rId6"/>
    <p:sldId id="2147375480" r:id="rId7"/>
    <p:sldId id="2147376246" r:id="rId8"/>
    <p:sldId id="2147376228" r:id="rId9"/>
    <p:sldId id="2147375526" r:id="rId10"/>
    <p:sldId id="2147376275" r:id="rId11"/>
    <p:sldId id="2147376276" r:id="rId12"/>
    <p:sldId id="2147376235" r:id="rId13"/>
    <p:sldId id="2147375524" r:id="rId14"/>
    <p:sldId id="2147376208" r:id="rId15"/>
    <p:sldId id="2147376236" r:id="rId16"/>
    <p:sldId id="2147376210" r:id="rId17"/>
    <p:sldId id="2147376238" r:id="rId18"/>
    <p:sldId id="2147376239" r:id="rId19"/>
    <p:sldId id="2147376240" r:id="rId20"/>
    <p:sldId id="2147376241" r:id="rId21"/>
    <p:sldId id="2147376243" r:id="rId22"/>
    <p:sldId id="2147376282" r:id="rId23"/>
    <p:sldId id="2147376284" r:id="rId24"/>
    <p:sldId id="2147376244" r:id="rId25"/>
    <p:sldId id="2147376279" r:id="rId26"/>
    <p:sldId id="2147376206" r:id="rId27"/>
    <p:sldId id="2147376280" r:id="rId28"/>
    <p:sldId id="2147376207" r:id="rId29"/>
    <p:sldId id="2147376281" r:id="rId30"/>
    <p:sldId id="2147376190" r:id="rId31"/>
    <p:sldId id="2147376199" r:id="rId32"/>
    <p:sldId id="2147375449" r:id="rId33"/>
    <p:sldId id="2147376283" r:id="rId34"/>
    <p:sldId id="537" r:id="rId35"/>
  </p:sldIdLst>
  <p:sldSz cx="12195175" cy="6859588"/>
  <p:notesSz cx="6807200" cy="9939338"/>
  <p:defaultTextStyle>
    <a:defPPr>
      <a:defRPr lang="en-US"/>
    </a:defPPr>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p:defaultTextStyle>
  <p:extLst>
    <p:ext uri="{521415D9-36F7-43E2-AB2F-B90AF26B5E84}">
      <p14:sectionLst xmlns:p14="http://schemas.microsoft.com/office/powerpoint/2010/main">
        <p14:section name="Examples" id="{5C96B414-6E41-4599-8CC3-2C41224C6BC3}">
          <p14:sldIdLst>
            <p14:sldId id="497"/>
            <p14:sldId id="2147375480"/>
            <p14:sldId id="2147376246"/>
            <p14:sldId id="2147376228"/>
            <p14:sldId id="2147375526"/>
            <p14:sldId id="2147376275"/>
            <p14:sldId id="2147376276"/>
            <p14:sldId id="2147376235"/>
            <p14:sldId id="2147375524"/>
            <p14:sldId id="2147376208"/>
            <p14:sldId id="2147376236"/>
            <p14:sldId id="2147376210"/>
            <p14:sldId id="2147376238"/>
            <p14:sldId id="2147376239"/>
            <p14:sldId id="2147376240"/>
            <p14:sldId id="2147376241"/>
            <p14:sldId id="2147376243"/>
            <p14:sldId id="2147376282"/>
            <p14:sldId id="2147376284"/>
            <p14:sldId id="2147376244"/>
            <p14:sldId id="2147376279"/>
            <p14:sldId id="2147376206"/>
            <p14:sldId id="2147376280"/>
            <p14:sldId id="2147376207"/>
            <p14:sldId id="2147376281"/>
            <p14:sldId id="2147376190"/>
            <p14:sldId id="2147376199"/>
            <p14:sldId id="2147375449"/>
            <p14:sldId id="2147376283"/>
            <p14:sldId id="53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5FD1C0-B3F2-1C0E-978F-4F16C140F204}" name="Michael Anthonisz" initials="MA" userId="S::manthonisz@qtc.com.au::9beac6f7-3375-4c1f-a610-b7f5957dadea" providerId="AD"/>
  <p188:author id="{1C7B95D1-9435-3E49-7661-F71C3DA85A87}" name="Tom Gole" initials="TG" userId="S::tgole@qtc.com.au::57839def-1fd4-468e-a8a7-f1e73cd7132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BD43"/>
    <a:srgbClr val="083A90"/>
    <a:srgbClr val="F01D27"/>
    <a:srgbClr val="4040DE"/>
    <a:srgbClr val="F08127"/>
    <a:srgbClr val="00539B"/>
    <a:srgbClr val="D8C726"/>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3524137-FF3D-4037-A441-0A574C4DDBC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3524137-FF3D-4037-A441-0A574C4DDBCC}" styleName="QTC Table">
    <a:wholeTbl>
      <a:tcTxStyle>
        <a:fontRef idx="minor">
          <a:prstClr val="black"/>
        </a:fontRef>
        <a:schemeClr val="dk1"/>
      </a:tcTxStyle>
      <a:tcStyle>
        <a:tcBdr>
          <a:left>
            <a:ln>
              <a:noFill/>
            </a:ln>
          </a:left>
          <a:right>
            <a:ln>
              <a:noFill/>
            </a:ln>
          </a:right>
          <a:top>
            <a:ln w="12700" cmpd="sng">
              <a:solidFill>
                <a:srgbClr val="777880"/>
              </a:solidFill>
            </a:ln>
          </a:top>
          <a:bottom>
            <a:ln w="12700" cmpd="sng">
              <a:solidFill>
                <a:srgbClr val="777880"/>
              </a:solidFill>
            </a:ln>
          </a:bottom>
          <a:insideH>
            <a:ln w="6350" cmpd="sng">
              <a:solidFill>
                <a:srgbClr val="777880"/>
              </a:solidFill>
            </a:ln>
          </a:insideH>
          <a:insideV>
            <a:ln>
              <a:noFill/>
            </a:ln>
          </a:insideV>
        </a:tcBdr>
        <a:fill>
          <a:solidFill>
            <a:srgbClr val="FFFFFF"/>
          </a:solidFill>
        </a:fill>
      </a:tcStyle>
    </a:wholeTbl>
    <a:band1H>
      <a:tcStyle>
        <a:tcBdr/>
        <a:fill>
          <a:solidFill>
            <a:srgbClr val="E6E6E6"/>
          </a:solidFill>
        </a:fill>
      </a:tcStyle>
    </a:band1H>
    <a:band2H>
      <a:tcStyle>
        <a:tcBdr/>
      </a:tcStyle>
    </a:band2H>
    <a:band1V>
      <a:tcStyle>
        <a:tcBdr/>
        <a:fill>
          <a:solidFill>
            <a:srgbClr val="E6E6E6"/>
          </a:solidFill>
        </a:fill>
      </a:tcStyle>
    </a:band1V>
    <a:band2V>
      <a:tcStyle>
        <a:tcBdr/>
      </a:tcStyle>
    </a:band2V>
    <a:lastCol>
      <a:tcTxStyle b="on">
        <a:fontRef idx="minor">
          <a:prstClr val="black"/>
        </a:fontRef>
        <a:schemeClr val="dk1"/>
      </a:tcTxStyle>
      <a:tcStyle>
        <a:tcBdr/>
        <a:fill>
          <a:solidFill>
            <a:srgbClr val="E6E6E6"/>
          </a:solidFill>
        </a:fill>
      </a:tcStyle>
    </a:lastCol>
    <a:firstCol>
      <a:tcTxStyle b="off">
        <a:fontRef idx="major">
          <a:prstClr val="black"/>
        </a:fontRef>
        <a:schemeClr val="lt1"/>
      </a:tcTxStyle>
      <a:tcStyle>
        <a:tcBdr>
          <a:right>
            <a:ln>
              <a:noFill/>
            </a:ln>
          </a:right>
        </a:tcBdr>
        <a:fill>
          <a:solidFill>
            <a:srgbClr val="0A3465"/>
          </a:solidFill>
        </a:fill>
      </a:tcStyle>
    </a:firstCol>
    <a:lastRow>
      <a:tcTxStyle b="on">
        <a:fontRef idx="minor">
          <a:prstClr val="black"/>
        </a:fontRef>
        <a:schemeClr val="dk1"/>
      </a:tcTxStyle>
      <a:tcStyle>
        <a:tcBdr>
          <a:top>
            <a:ln w="12700" cmpd="sng">
              <a:solidFill>
                <a:srgbClr val="0A3465"/>
              </a:solidFill>
            </a:ln>
          </a:top>
        </a:tcBdr>
        <a:fill>
          <a:solidFill>
            <a:srgbClr val="E6E6E6"/>
          </a:solidFill>
        </a:fill>
      </a:tcStyle>
    </a:lastRow>
    <a:firstRow>
      <a:tcTxStyle b="off">
        <a:fontRef idx="major">
          <a:prstClr val="black"/>
        </a:fontRef>
        <a:schemeClr val="lt1"/>
      </a:tcTxStyle>
      <a:tcStyle>
        <a:tcBdr>
          <a:bottom>
            <a:ln w="6350" cmpd="sng">
              <a:solidFill>
                <a:srgbClr val="0A3465"/>
              </a:solidFill>
            </a:ln>
          </a:bottom>
        </a:tcBdr>
        <a:fill>
          <a:solidFill>
            <a:srgbClr val="0A346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131" autoAdjust="0"/>
  </p:normalViewPr>
  <p:slideViewPr>
    <p:cSldViewPr snapToGrid="0">
      <p:cViewPr varScale="1">
        <p:scale>
          <a:sx n="102" d="100"/>
          <a:sy n="102" d="100"/>
        </p:scale>
        <p:origin x="2532" y="10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55838" y="1"/>
            <a:ext cx="2949787" cy="496967"/>
          </a:xfrm>
          <a:prstGeom prst="rect">
            <a:avLst/>
          </a:prstGeom>
        </p:spPr>
        <p:txBody>
          <a:bodyPr vert="horz" lIns="91440" tIns="45720" rIns="91440" bIns="45720" rtlCol="0"/>
          <a:lstStyle>
            <a:lvl1pPr algn="r">
              <a:defRPr sz="1200"/>
            </a:lvl1pPr>
          </a:lstStyle>
          <a:p>
            <a:fld id="{412A36AD-C140-47B5-A0AA-2808AF1C1C9D}" type="datetimeFigureOut">
              <a:rPr lang="en-AU" smtClean="0"/>
              <a:t>14/11/2025</a:t>
            </a:fld>
            <a:endParaRPr lang="en-AU"/>
          </a:p>
        </p:txBody>
      </p:sp>
      <p:sp>
        <p:nvSpPr>
          <p:cNvPr id="4" name="Footer Placeholder 3"/>
          <p:cNvSpPr>
            <a:spLocks noGrp="1"/>
          </p:cNvSpPr>
          <p:nvPr>
            <p:ph type="ftr" sz="quarter" idx="2"/>
          </p:nvPr>
        </p:nvSpPr>
        <p:spPr>
          <a:xfrm>
            <a:off x="0" y="9440647"/>
            <a:ext cx="2949787" cy="49696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55838" y="9440647"/>
            <a:ext cx="2949787" cy="496967"/>
          </a:xfrm>
          <a:prstGeom prst="rect">
            <a:avLst/>
          </a:prstGeom>
        </p:spPr>
        <p:txBody>
          <a:bodyPr vert="horz" lIns="91440" tIns="45720" rIns="91440" bIns="45720" rtlCol="0" anchor="b"/>
          <a:lstStyle>
            <a:lvl1pPr algn="r">
              <a:defRPr sz="1200"/>
            </a:lvl1pPr>
          </a:lstStyle>
          <a:p>
            <a:fld id="{36A420D9-E2BA-4BD5-B845-F55DFC0118AC}" type="slidenum">
              <a:rPr lang="en-AU" smtClean="0"/>
              <a:t>‹#›</a:t>
            </a:fld>
            <a:endParaRPr lang="en-AU"/>
          </a:p>
        </p:txBody>
      </p:sp>
    </p:spTree>
    <p:extLst>
      <p:ext uri="{BB962C8B-B14F-4D97-AF65-F5344CB8AC3E}">
        <p14:creationId xmlns:p14="http://schemas.microsoft.com/office/powerpoint/2010/main" val="26849784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5838" y="1"/>
            <a:ext cx="2949787" cy="496967"/>
          </a:xfrm>
          <a:prstGeom prst="rect">
            <a:avLst/>
          </a:prstGeom>
        </p:spPr>
        <p:txBody>
          <a:bodyPr vert="horz" lIns="91440" tIns="45720" rIns="91440" bIns="45720" rtlCol="0"/>
          <a:lstStyle>
            <a:lvl1pPr algn="r">
              <a:defRPr sz="1200"/>
            </a:lvl1pPr>
          </a:lstStyle>
          <a:p>
            <a:fld id="{2763829E-EB69-4A98-9D54-8D6822520B27}" type="datetimeFigureOut">
              <a:rPr lang="en-AU" smtClean="0"/>
              <a:t>14/11/2025</a:t>
            </a:fld>
            <a:endParaRPr lang="en-AU"/>
          </a:p>
        </p:txBody>
      </p:sp>
      <p:sp>
        <p:nvSpPr>
          <p:cNvPr id="4" name="Slide Image Placeholder 3"/>
          <p:cNvSpPr>
            <a:spLocks noGrp="1" noRot="1" noChangeAspect="1"/>
          </p:cNvSpPr>
          <p:nvPr>
            <p:ph type="sldImg" idx="2"/>
          </p:nvPr>
        </p:nvSpPr>
        <p:spPr>
          <a:xfrm>
            <a:off x="92075" y="746125"/>
            <a:ext cx="6623050" cy="3725863"/>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721" y="4721186"/>
            <a:ext cx="5445760" cy="447270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787" cy="49696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5838" y="9440647"/>
            <a:ext cx="2949787" cy="496967"/>
          </a:xfrm>
          <a:prstGeom prst="rect">
            <a:avLst/>
          </a:prstGeom>
        </p:spPr>
        <p:txBody>
          <a:bodyPr vert="horz" lIns="91440" tIns="45720" rIns="91440" bIns="45720" rtlCol="0" anchor="b"/>
          <a:lstStyle>
            <a:lvl1pPr algn="r">
              <a:defRPr sz="1200"/>
            </a:lvl1pPr>
          </a:lstStyle>
          <a:p>
            <a:fld id="{0EF05BAA-92F6-4DEA-A832-E4B15A2F525C}" type="slidenum">
              <a:rPr lang="en-AU" smtClean="0"/>
              <a:t>‹#›</a:t>
            </a:fld>
            <a:endParaRPr lang="en-AU"/>
          </a:p>
        </p:txBody>
      </p:sp>
    </p:spTree>
    <p:extLst>
      <p:ext uri="{BB962C8B-B14F-4D97-AF65-F5344CB8AC3E}">
        <p14:creationId xmlns:p14="http://schemas.microsoft.com/office/powerpoint/2010/main" val="203997852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544388" algn="l" defTabSz="1088776" rtl="0" eaLnBrk="1" latinLnBrk="0" hangingPunct="1">
      <a:defRPr sz="1400" kern="1200">
        <a:solidFill>
          <a:schemeClr val="tx1"/>
        </a:solidFill>
        <a:latin typeface="+mn-lt"/>
        <a:ea typeface="+mn-ea"/>
        <a:cs typeface="+mn-cs"/>
      </a:defRPr>
    </a:lvl2pPr>
    <a:lvl3pPr marL="1088776" algn="l" defTabSz="1088776" rtl="0" eaLnBrk="1" latinLnBrk="0" hangingPunct="1">
      <a:defRPr sz="1400" kern="1200">
        <a:solidFill>
          <a:schemeClr val="tx1"/>
        </a:solidFill>
        <a:latin typeface="+mn-lt"/>
        <a:ea typeface="+mn-ea"/>
        <a:cs typeface="+mn-cs"/>
      </a:defRPr>
    </a:lvl3pPr>
    <a:lvl4pPr marL="1633164" algn="l" defTabSz="1088776" rtl="0" eaLnBrk="1" latinLnBrk="0" hangingPunct="1">
      <a:defRPr sz="14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Lets start with the big news – China..</a:t>
            </a:r>
          </a:p>
          <a:p>
            <a:r>
              <a:rPr lang="en-AU" b="1"/>
              <a:t>LHS graph shows growth weakest in 2 years – and driven by weakness in the property sector – RHS graph shows spike in houses built now big drop off (</a:t>
            </a:r>
            <a:r>
              <a:rPr lang="en-AU" b="1" err="1"/>
              <a:t>YonY</a:t>
            </a:r>
            <a:r>
              <a:rPr lang="en-AU" b="1"/>
              <a:t>) especially real estate (Grey line) – they have built to0 many houses and know this is a big drag to their economy!</a:t>
            </a:r>
          </a:p>
          <a:p>
            <a:r>
              <a:rPr lang="en-AU"/>
              <a:t>And while they are working hard to correct this situation…”throwing the kitchen sink at it” …outcomes of this still to play out – they have been quite good at this (</a:t>
            </a:r>
            <a:r>
              <a:rPr lang="en-AU" err="1"/>
              <a:t>ie</a:t>
            </a:r>
            <a:r>
              <a:rPr lang="en-AU"/>
              <a:t> generating growth) in the past </a:t>
            </a:r>
            <a:r>
              <a:rPr lang="en-AU" err="1"/>
              <a:t>eg</a:t>
            </a:r>
            <a:r>
              <a:rPr lang="en-AU"/>
              <a:t> belt and roads initiatives, house (city) building and now they are pushing EVs / Solar…</a:t>
            </a:r>
          </a:p>
          <a:p>
            <a:r>
              <a:rPr lang="en-AU"/>
              <a:t>Remembering that when China or the US sneeze…the rest of the world catches a cold… – so very good for Aus that they are doing this…</a:t>
            </a:r>
          </a:p>
          <a:p>
            <a:r>
              <a:rPr lang="en-AU"/>
              <a:t>An interesting fact, provided some context… </a:t>
            </a:r>
            <a:endParaRPr lang="en-US"/>
          </a:p>
          <a:p>
            <a:r>
              <a:rPr lang="en-US"/>
              <a:t>China’s exports of steel have doubled since 2020 and are now enough to build a thousand Golden Gate bridges each year</a:t>
            </a:r>
          </a:p>
          <a:p>
            <a:r>
              <a:rPr lang="en-US"/>
              <a:t>AND Despite only one per cent of steel mills in China currently being profitable, more steel capacity will come online by the end of next year than will be shut down</a:t>
            </a:r>
            <a:r>
              <a:rPr lang="en-AU"/>
              <a:t> </a:t>
            </a:r>
          </a:p>
        </p:txBody>
      </p:sp>
      <p:sp>
        <p:nvSpPr>
          <p:cNvPr id="4" name="Slide Number Placeholder 3"/>
          <p:cNvSpPr>
            <a:spLocks noGrp="1"/>
          </p:cNvSpPr>
          <p:nvPr>
            <p:ph type="sldNum" sz="quarter" idx="5"/>
          </p:nvPr>
        </p:nvSpPr>
        <p:spPr/>
        <p:txBody>
          <a:bodyPr/>
          <a:lstStyle/>
          <a:p>
            <a:fld id="{0EF05BAA-92F6-4DEA-A832-E4B15A2F525C}" type="slidenum">
              <a:rPr lang="en-AU" smtClean="0"/>
              <a:t>4</a:t>
            </a:fld>
            <a:endParaRPr lang="en-AU"/>
          </a:p>
        </p:txBody>
      </p:sp>
    </p:spTree>
    <p:extLst>
      <p:ext uri="{BB962C8B-B14F-4D97-AF65-F5344CB8AC3E}">
        <p14:creationId xmlns:p14="http://schemas.microsoft.com/office/powerpoint/2010/main" val="1551218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5FB73D-B2F3-D172-F13D-D3A295168C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E1C393-C345-609D-7978-A68F44E832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8659E1-4D8A-4362-D3D2-A496465EE213}"/>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EA998238-09A2-0A43-7EC9-5F9748DA8FD6}"/>
              </a:ext>
            </a:extLst>
          </p:cNvPr>
          <p:cNvSpPr>
            <a:spLocks noGrp="1"/>
          </p:cNvSpPr>
          <p:nvPr>
            <p:ph type="sldNum" sz="quarter" idx="5"/>
          </p:nvPr>
        </p:nvSpPr>
        <p:spPr/>
        <p:txBody>
          <a:bodyPr/>
          <a:lstStyle/>
          <a:p>
            <a:fld id="{0EF05BAA-92F6-4DEA-A832-E4B15A2F525C}" type="slidenum">
              <a:rPr lang="en-AU" smtClean="0"/>
              <a:t>15</a:t>
            </a:fld>
            <a:endParaRPr lang="en-AU"/>
          </a:p>
        </p:txBody>
      </p:sp>
    </p:spTree>
    <p:extLst>
      <p:ext uri="{BB962C8B-B14F-4D97-AF65-F5344CB8AC3E}">
        <p14:creationId xmlns:p14="http://schemas.microsoft.com/office/powerpoint/2010/main" val="14401634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E1F1C-B6E8-FEB6-7F98-1EC010036A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D86A58-A014-C4DF-AC91-9CA5F6331B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DFD028-7144-92D4-9EA8-526E96011E16}"/>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0B12ACD0-C0E3-5A15-DB9D-CBA3CA4B0621}"/>
              </a:ext>
            </a:extLst>
          </p:cNvPr>
          <p:cNvSpPr>
            <a:spLocks noGrp="1"/>
          </p:cNvSpPr>
          <p:nvPr>
            <p:ph type="sldNum" sz="quarter" idx="5"/>
          </p:nvPr>
        </p:nvSpPr>
        <p:spPr/>
        <p:txBody>
          <a:bodyPr/>
          <a:lstStyle/>
          <a:p>
            <a:fld id="{0EF05BAA-92F6-4DEA-A832-E4B15A2F525C}" type="slidenum">
              <a:rPr lang="en-AU" smtClean="0"/>
              <a:t>16</a:t>
            </a:fld>
            <a:endParaRPr lang="en-AU"/>
          </a:p>
        </p:txBody>
      </p:sp>
    </p:spTree>
    <p:extLst>
      <p:ext uri="{BB962C8B-B14F-4D97-AF65-F5344CB8AC3E}">
        <p14:creationId xmlns:p14="http://schemas.microsoft.com/office/powerpoint/2010/main" val="306795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DABDC6-C670-DD09-A40D-94230B5A90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9B198-CCAE-7214-7133-5864A597A4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403628-0219-87E8-861A-81FF94AE73A2}"/>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A6B3AC17-D154-6706-C31F-A0AF9517BBF4}"/>
              </a:ext>
            </a:extLst>
          </p:cNvPr>
          <p:cNvSpPr>
            <a:spLocks noGrp="1"/>
          </p:cNvSpPr>
          <p:nvPr>
            <p:ph type="sldNum" sz="quarter" idx="5"/>
          </p:nvPr>
        </p:nvSpPr>
        <p:spPr/>
        <p:txBody>
          <a:bodyPr/>
          <a:lstStyle/>
          <a:p>
            <a:fld id="{0EF05BAA-92F6-4DEA-A832-E4B15A2F525C}" type="slidenum">
              <a:rPr lang="en-AU" smtClean="0"/>
              <a:t>18</a:t>
            </a:fld>
            <a:endParaRPr lang="en-AU"/>
          </a:p>
        </p:txBody>
      </p:sp>
    </p:spTree>
    <p:extLst>
      <p:ext uri="{BB962C8B-B14F-4D97-AF65-F5344CB8AC3E}">
        <p14:creationId xmlns:p14="http://schemas.microsoft.com/office/powerpoint/2010/main" val="2560546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0D90C-80C9-649D-6630-ED72523D50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E02C92-F137-2995-7772-289C4FC405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EE7A7-D9D0-97DC-F4F8-A601CE72F92B}"/>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05B91677-1023-3602-37BE-069CB7947058}"/>
              </a:ext>
            </a:extLst>
          </p:cNvPr>
          <p:cNvSpPr>
            <a:spLocks noGrp="1"/>
          </p:cNvSpPr>
          <p:nvPr>
            <p:ph type="sldNum" sz="quarter" idx="5"/>
          </p:nvPr>
        </p:nvSpPr>
        <p:spPr/>
        <p:txBody>
          <a:bodyPr/>
          <a:lstStyle/>
          <a:p>
            <a:fld id="{0EF05BAA-92F6-4DEA-A832-E4B15A2F525C}" type="slidenum">
              <a:rPr lang="en-AU" smtClean="0"/>
              <a:t>19</a:t>
            </a:fld>
            <a:endParaRPr lang="en-AU"/>
          </a:p>
        </p:txBody>
      </p:sp>
    </p:spTree>
    <p:extLst>
      <p:ext uri="{BB962C8B-B14F-4D97-AF65-F5344CB8AC3E}">
        <p14:creationId xmlns:p14="http://schemas.microsoft.com/office/powerpoint/2010/main" val="21429250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EF05BAA-92F6-4DEA-A832-E4B15A2F525C}" type="slidenum">
              <a:rPr lang="en-AU" smtClean="0"/>
              <a:t>20</a:t>
            </a:fld>
            <a:endParaRPr lang="en-AU"/>
          </a:p>
        </p:txBody>
      </p:sp>
    </p:spTree>
    <p:extLst>
      <p:ext uri="{BB962C8B-B14F-4D97-AF65-F5344CB8AC3E}">
        <p14:creationId xmlns:p14="http://schemas.microsoft.com/office/powerpoint/2010/main" val="14926043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BF626E-347F-D7C5-5B32-029D8F5650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D30F13-C419-9AD1-7755-ECE8BC9365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ABCC68-6EFD-65B2-3FB8-A63A074C5540}"/>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3CD0A375-9E67-787F-F3BA-AE88BF74A43D}"/>
              </a:ext>
            </a:extLst>
          </p:cNvPr>
          <p:cNvSpPr>
            <a:spLocks noGrp="1"/>
          </p:cNvSpPr>
          <p:nvPr>
            <p:ph type="sldNum" sz="quarter" idx="5"/>
          </p:nvPr>
        </p:nvSpPr>
        <p:spPr/>
        <p:txBody>
          <a:bodyPr/>
          <a:lstStyle/>
          <a:p>
            <a:fld id="{0EF05BAA-92F6-4DEA-A832-E4B15A2F525C}" type="slidenum">
              <a:rPr lang="en-AU" smtClean="0"/>
              <a:t>21</a:t>
            </a:fld>
            <a:endParaRPr lang="en-AU"/>
          </a:p>
        </p:txBody>
      </p:sp>
    </p:spTree>
    <p:extLst>
      <p:ext uri="{BB962C8B-B14F-4D97-AF65-F5344CB8AC3E}">
        <p14:creationId xmlns:p14="http://schemas.microsoft.com/office/powerpoint/2010/main" val="6656066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0EF05BAA-92F6-4DEA-A832-E4B15A2F525C}" type="slidenum">
              <a:rPr lang="en-AU" smtClean="0"/>
              <a:t>22</a:t>
            </a:fld>
            <a:endParaRPr lang="en-AU"/>
          </a:p>
        </p:txBody>
      </p:sp>
    </p:spTree>
    <p:extLst>
      <p:ext uri="{BB962C8B-B14F-4D97-AF65-F5344CB8AC3E}">
        <p14:creationId xmlns:p14="http://schemas.microsoft.com/office/powerpoint/2010/main" val="29091764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0EF05BAA-92F6-4DEA-A832-E4B15A2F525C}" type="slidenum">
              <a:rPr lang="en-AU" smtClean="0"/>
              <a:t>23</a:t>
            </a:fld>
            <a:endParaRPr lang="en-AU"/>
          </a:p>
        </p:txBody>
      </p:sp>
    </p:spTree>
    <p:extLst>
      <p:ext uri="{BB962C8B-B14F-4D97-AF65-F5344CB8AC3E}">
        <p14:creationId xmlns:p14="http://schemas.microsoft.com/office/powerpoint/2010/main" val="12513143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0EF05BAA-92F6-4DEA-A832-E4B15A2F525C}" type="slidenum">
              <a:rPr lang="en-AU" smtClean="0"/>
              <a:t>24</a:t>
            </a:fld>
            <a:endParaRPr lang="en-AU"/>
          </a:p>
        </p:txBody>
      </p:sp>
    </p:spTree>
    <p:extLst>
      <p:ext uri="{BB962C8B-B14F-4D97-AF65-F5344CB8AC3E}">
        <p14:creationId xmlns:p14="http://schemas.microsoft.com/office/powerpoint/2010/main" val="26079003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0EF05BAA-92F6-4DEA-A832-E4B15A2F525C}" type="slidenum">
              <a:rPr lang="en-AU" smtClean="0"/>
              <a:t>25</a:t>
            </a:fld>
            <a:endParaRPr lang="en-AU"/>
          </a:p>
        </p:txBody>
      </p:sp>
    </p:spTree>
    <p:extLst>
      <p:ext uri="{BB962C8B-B14F-4D97-AF65-F5344CB8AC3E}">
        <p14:creationId xmlns:p14="http://schemas.microsoft.com/office/powerpoint/2010/main" val="990709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0EF05BAA-92F6-4DEA-A832-E4B15A2F525C}" type="slidenum">
              <a:rPr lang="en-AU" smtClean="0"/>
              <a:t>5</a:t>
            </a:fld>
            <a:endParaRPr lang="en-AU"/>
          </a:p>
        </p:txBody>
      </p:sp>
    </p:spTree>
    <p:extLst>
      <p:ext uri="{BB962C8B-B14F-4D97-AF65-F5344CB8AC3E}">
        <p14:creationId xmlns:p14="http://schemas.microsoft.com/office/powerpoint/2010/main" val="35120638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BF626E-347F-D7C5-5B32-029D8F5650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D30F13-C419-9AD1-7755-ECE8BC9365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ABCC68-6EFD-65B2-3FB8-A63A074C5540}"/>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3CD0A375-9E67-787F-F3BA-AE88BF74A43D}"/>
              </a:ext>
            </a:extLst>
          </p:cNvPr>
          <p:cNvSpPr>
            <a:spLocks noGrp="1"/>
          </p:cNvSpPr>
          <p:nvPr>
            <p:ph type="sldNum" sz="quarter" idx="5"/>
          </p:nvPr>
        </p:nvSpPr>
        <p:spPr/>
        <p:txBody>
          <a:bodyPr/>
          <a:lstStyle/>
          <a:p>
            <a:fld id="{0EF05BAA-92F6-4DEA-A832-E4B15A2F525C}" type="slidenum">
              <a:rPr lang="en-AU" smtClean="0"/>
              <a:t>26</a:t>
            </a:fld>
            <a:endParaRPr lang="en-AU"/>
          </a:p>
        </p:txBody>
      </p:sp>
    </p:spTree>
    <p:extLst>
      <p:ext uri="{BB962C8B-B14F-4D97-AF65-F5344CB8AC3E}">
        <p14:creationId xmlns:p14="http://schemas.microsoft.com/office/powerpoint/2010/main" val="3235352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0EF05BAA-92F6-4DEA-A832-E4B15A2F525C}" type="slidenum">
              <a:rPr lang="en-AU" smtClean="0"/>
              <a:t>28</a:t>
            </a:fld>
            <a:endParaRPr lang="en-AU"/>
          </a:p>
        </p:txBody>
      </p:sp>
    </p:spTree>
    <p:extLst>
      <p:ext uri="{BB962C8B-B14F-4D97-AF65-F5344CB8AC3E}">
        <p14:creationId xmlns:p14="http://schemas.microsoft.com/office/powerpoint/2010/main" val="3917480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1CB1D-B06E-D6AE-C94E-D1B324A1F6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15B8E0-B0B3-CD5A-F3AA-AC34B21EE8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D799EA-6F3C-EAC6-6482-D0C0FD776270}"/>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AE22E8E0-B5C5-6675-53EE-190BB6607108}"/>
              </a:ext>
            </a:extLst>
          </p:cNvPr>
          <p:cNvSpPr>
            <a:spLocks noGrp="1"/>
          </p:cNvSpPr>
          <p:nvPr>
            <p:ph type="sldNum" sz="quarter" idx="5"/>
          </p:nvPr>
        </p:nvSpPr>
        <p:spPr/>
        <p:txBody>
          <a:bodyPr/>
          <a:lstStyle/>
          <a:p>
            <a:fld id="{0EF05BAA-92F6-4DEA-A832-E4B15A2F525C}" type="slidenum">
              <a:rPr lang="en-AU" smtClean="0"/>
              <a:t>6</a:t>
            </a:fld>
            <a:endParaRPr lang="en-AU"/>
          </a:p>
        </p:txBody>
      </p:sp>
    </p:spTree>
    <p:extLst>
      <p:ext uri="{BB962C8B-B14F-4D97-AF65-F5344CB8AC3E}">
        <p14:creationId xmlns:p14="http://schemas.microsoft.com/office/powerpoint/2010/main" val="3757733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C1FE0-7130-A3C3-87D9-07F849E533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E407F7-02E6-8A3F-623F-0AADE0995B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10ED98-E465-0232-7D30-809BBDF332B1}"/>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E5F51284-D253-6AB3-1214-B800C3398EE8}"/>
              </a:ext>
            </a:extLst>
          </p:cNvPr>
          <p:cNvSpPr>
            <a:spLocks noGrp="1"/>
          </p:cNvSpPr>
          <p:nvPr>
            <p:ph type="sldNum" sz="quarter" idx="5"/>
          </p:nvPr>
        </p:nvSpPr>
        <p:spPr/>
        <p:txBody>
          <a:bodyPr/>
          <a:lstStyle/>
          <a:p>
            <a:fld id="{0EF05BAA-92F6-4DEA-A832-E4B15A2F525C}" type="slidenum">
              <a:rPr lang="en-AU" smtClean="0"/>
              <a:t>7</a:t>
            </a:fld>
            <a:endParaRPr lang="en-AU"/>
          </a:p>
        </p:txBody>
      </p:sp>
    </p:spTree>
    <p:extLst>
      <p:ext uri="{BB962C8B-B14F-4D97-AF65-F5344CB8AC3E}">
        <p14:creationId xmlns:p14="http://schemas.microsoft.com/office/powerpoint/2010/main" val="20682732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ets start with the big news – China..</a:t>
            </a:r>
          </a:p>
          <a:p>
            <a:r>
              <a:rPr lang="en-AU" b="1" dirty="0"/>
              <a:t>LHS graph shows growth weakest in 2 years – and driven by weakness in the property sector – RHS graph shows spike in houses built now big drop off (</a:t>
            </a:r>
            <a:r>
              <a:rPr lang="en-AU" b="1" dirty="0" err="1"/>
              <a:t>YonY</a:t>
            </a:r>
            <a:r>
              <a:rPr lang="en-AU" b="1" dirty="0"/>
              <a:t>) especially real estate (Grey line) – they have built to0 many houses and know this is a big drag to their economy!</a:t>
            </a:r>
          </a:p>
          <a:p>
            <a:r>
              <a:rPr lang="en-AU" dirty="0"/>
              <a:t>And while they are working hard to correct this situation…”throwing the kitchen sink at it” …outcomes of this still to play out – they have been quite good at this (ie generating growth) in the past eg belt and roads initiatives, house (city) building and now they are pushing EVs / Solar…</a:t>
            </a:r>
          </a:p>
          <a:p>
            <a:r>
              <a:rPr lang="en-AU" dirty="0"/>
              <a:t>Remembering that when China or the US sneeze…the rest of the world catches a cold… – so very good for Aus that they are doing this…</a:t>
            </a:r>
          </a:p>
          <a:p>
            <a:r>
              <a:rPr lang="en-AU" dirty="0"/>
              <a:t>An interesting fact, provided some context… </a:t>
            </a:r>
            <a:endParaRPr lang="en-US" dirty="0"/>
          </a:p>
          <a:p>
            <a:r>
              <a:rPr lang="en-US" dirty="0"/>
              <a:t>China’s exports of steel have doubled since 2020 and are now enough to build a thousand Golden Gate bridges each year</a:t>
            </a:r>
          </a:p>
          <a:p>
            <a:r>
              <a:rPr lang="en-US" dirty="0"/>
              <a:t>AND Despite only one per cent of steel mills in China currently being profitable, more steel capacity will come online by the end of next year than will be shut down</a:t>
            </a:r>
            <a:r>
              <a:rPr lang="en-AU" dirty="0"/>
              <a:t> </a:t>
            </a:r>
          </a:p>
        </p:txBody>
      </p:sp>
      <p:sp>
        <p:nvSpPr>
          <p:cNvPr id="4" name="Slide Number Placeholder 3"/>
          <p:cNvSpPr>
            <a:spLocks noGrp="1"/>
          </p:cNvSpPr>
          <p:nvPr>
            <p:ph type="sldNum" sz="quarter" idx="5"/>
          </p:nvPr>
        </p:nvSpPr>
        <p:spPr/>
        <p:txBody>
          <a:bodyPr/>
          <a:lstStyle/>
          <a:p>
            <a:fld id="{0EF05BAA-92F6-4DEA-A832-E4B15A2F525C}" type="slidenum">
              <a:rPr lang="en-AU" smtClean="0"/>
              <a:t>9</a:t>
            </a:fld>
            <a:endParaRPr lang="en-AU"/>
          </a:p>
        </p:txBody>
      </p:sp>
    </p:spTree>
    <p:extLst>
      <p:ext uri="{BB962C8B-B14F-4D97-AF65-F5344CB8AC3E}">
        <p14:creationId xmlns:p14="http://schemas.microsoft.com/office/powerpoint/2010/main" val="13424712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EF05BAA-92F6-4DEA-A832-E4B15A2F525C}" type="slidenum">
              <a:rPr lang="en-AU" smtClean="0"/>
              <a:t>10</a:t>
            </a:fld>
            <a:endParaRPr lang="en-AU"/>
          </a:p>
        </p:txBody>
      </p:sp>
    </p:spTree>
    <p:extLst>
      <p:ext uri="{BB962C8B-B14F-4D97-AF65-F5344CB8AC3E}">
        <p14:creationId xmlns:p14="http://schemas.microsoft.com/office/powerpoint/2010/main" val="19137622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EF05BAA-92F6-4DEA-A832-E4B15A2F525C}" type="slidenum">
              <a:rPr lang="en-AU" smtClean="0"/>
              <a:t>11</a:t>
            </a:fld>
            <a:endParaRPr lang="en-AU"/>
          </a:p>
        </p:txBody>
      </p:sp>
    </p:spTree>
    <p:extLst>
      <p:ext uri="{BB962C8B-B14F-4D97-AF65-F5344CB8AC3E}">
        <p14:creationId xmlns:p14="http://schemas.microsoft.com/office/powerpoint/2010/main" val="1654288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5CBD1-1AA7-F8FA-C6DA-77DA3C7A00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7EF1D0-8277-40BF-C3FB-FA028C58D8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799DD4-1534-CB94-79F6-9E469A07B49A}"/>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E08C3C82-E37A-2C06-8BFC-28E78B4B4063}"/>
              </a:ext>
            </a:extLst>
          </p:cNvPr>
          <p:cNvSpPr>
            <a:spLocks noGrp="1"/>
          </p:cNvSpPr>
          <p:nvPr>
            <p:ph type="sldNum" sz="quarter" idx="5"/>
          </p:nvPr>
        </p:nvSpPr>
        <p:spPr/>
        <p:txBody>
          <a:bodyPr/>
          <a:lstStyle/>
          <a:p>
            <a:fld id="{0EF05BAA-92F6-4DEA-A832-E4B15A2F525C}" type="slidenum">
              <a:rPr lang="en-AU" smtClean="0"/>
              <a:t>12</a:t>
            </a:fld>
            <a:endParaRPr lang="en-AU"/>
          </a:p>
        </p:txBody>
      </p:sp>
    </p:spTree>
    <p:extLst>
      <p:ext uri="{BB962C8B-B14F-4D97-AF65-F5344CB8AC3E}">
        <p14:creationId xmlns:p14="http://schemas.microsoft.com/office/powerpoint/2010/main" val="720499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310C2-54FE-99BD-1978-72138328C3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5A1484-CBC9-B6B7-C555-8681D5D76B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25099A-741D-EDB9-DE4C-19B383FAA9A6}"/>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C03F3215-A3A9-373F-40AB-A9DA077BF5BB}"/>
              </a:ext>
            </a:extLst>
          </p:cNvPr>
          <p:cNvSpPr>
            <a:spLocks noGrp="1"/>
          </p:cNvSpPr>
          <p:nvPr>
            <p:ph type="sldNum" sz="quarter" idx="5"/>
          </p:nvPr>
        </p:nvSpPr>
        <p:spPr/>
        <p:txBody>
          <a:bodyPr/>
          <a:lstStyle/>
          <a:p>
            <a:fld id="{0EF05BAA-92F6-4DEA-A832-E4B15A2F525C}" type="slidenum">
              <a:rPr lang="en-AU" smtClean="0"/>
              <a:t>14</a:t>
            </a:fld>
            <a:endParaRPr lang="en-AU"/>
          </a:p>
        </p:txBody>
      </p:sp>
    </p:spTree>
    <p:extLst>
      <p:ext uri="{BB962C8B-B14F-4D97-AF65-F5344CB8AC3E}">
        <p14:creationId xmlns:p14="http://schemas.microsoft.com/office/powerpoint/2010/main" val="1161607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0975DB9F-71B5-20FF-E387-1EA7203782D1}"/>
              </a:ext>
            </a:extLst>
          </p:cNvPr>
          <p:cNvSpPr>
            <a:spLocks noGrp="1"/>
          </p:cNvSpPr>
          <p:nvPr>
            <p:ph type="body" sz="quarter" idx="12" hasCustomPrompt="1"/>
          </p:nvPr>
        </p:nvSpPr>
        <p:spPr>
          <a:xfrm>
            <a:off x="0" y="0"/>
            <a:ext cx="7897813" cy="4323080"/>
          </a:xfrm>
          <a:gradFill flip="none" rotWithShape="1">
            <a:gsLst>
              <a:gs pos="99000">
                <a:schemeClr val="tx1">
                  <a:alpha val="75000"/>
                </a:schemeClr>
              </a:gs>
              <a:gs pos="0">
                <a:schemeClr val="accent1">
                  <a:alpha val="75000"/>
                </a:schemeClr>
              </a:gs>
            </a:gsLst>
            <a:path path="circle">
              <a:fillToRect r="100000" b="100000"/>
            </a:path>
            <a:tileRect l="-100000" t="-100000"/>
          </a:gradFill>
        </p:spPr>
        <p:txBody>
          <a:bodyPr>
            <a:noAutofit/>
          </a:bodyPr>
          <a:lstStyle>
            <a:lvl1pPr>
              <a:defRPr sz="100"/>
            </a:lvl1pPr>
            <a:lvl2pPr>
              <a:defRPr sz="100"/>
            </a:lvl2pPr>
            <a:lvl3pPr>
              <a:defRPr sz="100"/>
            </a:lvl3pPr>
            <a:lvl4pPr>
              <a:defRPr sz="100"/>
            </a:lvl4pPr>
            <a:lvl5pPr>
              <a:defRPr sz="100"/>
            </a:lvl5pPr>
          </a:lstStyle>
          <a:p>
            <a:pPr lvl="0"/>
            <a:r>
              <a:rPr lang="en-NZ"/>
              <a:t> </a:t>
            </a:r>
            <a:endParaRPr lang="en-AU"/>
          </a:p>
        </p:txBody>
      </p:sp>
      <p:sp>
        <p:nvSpPr>
          <p:cNvPr id="2" name="Title 1"/>
          <p:cNvSpPr>
            <a:spLocks noGrp="1"/>
          </p:cNvSpPr>
          <p:nvPr>
            <p:ph type="title" hasCustomPrompt="1"/>
          </p:nvPr>
        </p:nvSpPr>
        <p:spPr>
          <a:xfrm>
            <a:off x="1584959" y="1197546"/>
            <a:ext cx="4800659" cy="2226374"/>
          </a:xfrm>
        </p:spPr>
        <p:txBody>
          <a:bodyPr>
            <a:noAutofit/>
          </a:bodyPr>
          <a:lstStyle>
            <a:lvl1pPr algn="l">
              <a:lnSpc>
                <a:spcPct val="100000"/>
              </a:lnSpc>
              <a:spcAft>
                <a:spcPts val="1000"/>
              </a:spcAft>
              <a:defRPr lang="en-AU" sz="4000" dirty="0">
                <a:solidFill>
                  <a:schemeClr val="bg1"/>
                </a:solidFill>
              </a:defRPr>
            </a:lvl1pPr>
          </a:lstStyle>
          <a:p>
            <a:r>
              <a:rPr lang="en-AU" noProof="0"/>
              <a:t>Lorem ipsum </a:t>
            </a:r>
            <a:r>
              <a:rPr lang="en-AU" noProof="0" err="1"/>
              <a:t>dolor</a:t>
            </a:r>
            <a:r>
              <a:rPr lang="en-AU" noProof="0"/>
              <a:t> sit </a:t>
            </a:r>
            <a:r>
              <a:rPr lang="en-AU" noProof="0" err="1"/>
              <a:t>amet</a:t>
            </a:r>
            <a:r>
              <a:rPr lang="en-AU" noProof="0"/>
              <a:t> </a:t>
            </a:r>
            <a:r>
              <a:rPr lang="en-AU" noProof="0" err="1"/>
              <a:t>adipiscing</a:t>
            </a:r>
            <a:r>
              <a:rPr lang="en-AU" noProof="0"/>
              <a:t> sed diam </a:t>
            </a:r>
            <a:r>
              <a:rPr lang="en-AU" noProof="0" err="1"/>
              <a:t>elit</a:t>
            </a:r>
            <a:endParaRPr lang="en-AU" noProof="0"/>
          </a:p>
        </p:txBody>
      </p:sp>
      <p:sp>
        <p:nvSpPr>
          <p:cNvPr id="7" name="Text Placeholder 6"/>
          <p:cNvSpPr>
            <a:spLocks noGrp="1"/>
          </p:cNvSpPr>
          <p:nvPr>
            <p:ph type="body" sz="quarter" idx="10" hasCustomPrompt="1"/>
          </p:nvPr>
        </p:nvSpPr>
        <p:spPr>
          <a:xfrm>
            <a:off x="1592579" y="5615940"/>
            <a:ext cx="5009063" cy="622935"/>
          </a:xfrm>
        </p:spPr>
        <p:txBody>
          <a:bodyPr>
            <a:noAutofit/>
          </a:bodyPr>
          <a:lstStyle>
            <a:lvl1pPr marL="0" indent="0">
              <a:spcBef>
                <a:spcPts val="0"/>
              </a:spcBef>
              <a:spcAft>
                <a:spcPts val="600"/>
              </a:spcAft>
              <a:buNone/>
              <a:defRPr sz="1800">
                <a:solidFill>
                  <a:schemeClr val="tx1"/>
                </a:solidFill>
                <a:latin typeface="Bahnschrift" panose="020B0502040204020203" pitchFamily="34" charset="0"/>
              </a:defRPr>
            </a:lvl1pPr>
          </a:lstStyle>
          <a:p>
            <a:pPr lvl="0"/>
            <a:r>
              <a:rPr lang="en-US" noProof="0"/>
              <a:t>Presented to &lt;insert Client name here&gt;</a:t>
            </a:r>
          </a:p>
        </p:txBody>
      </p:sp>
      <p:sp>
        <p:nvSpPr>
          <p:cNvPr id="5" name="Text Placeholder 4">
            <a:extLst>
              <a:ext uri="{FF2B5EF4-FFF2-40B4-BE49-F238E27FC236}">
                <a16:creationId xmlns:a16="http://schemas.microsoft.com/office/drawing/2014/main" id="{CE1B8542-D03B-4E14-9391-7600E6DA2EED}"/>
              </a:ext>
            </a:extLst>
          </p:cNvPr>
          <p:cNvSpPr>
            <a:spLocks noGrp="1"/>
          </p:cNvSpPr>
          <p:nvPr>
            <p:ph type="body" sz="quarter" idx="11" hasCustomPrompt="1"/>
          </p:nvPr>
        </p:nvSpPr>
        <p:spPr>
          <a:xfrm>
            <a:off x="1584959" y="665746"/>
            <a:ext cx="4800659" cy="237845"/>
          </a:xfrm>
        </p:spPr>
        <p:txBody>
          <a:bodyPr>
            <a:noAutofit/>
          </a:bodyPr>
          <a:lstStyle>
            <a:lvl1pPr algn="l">
              <a:defRPr sz="1200" b="1">
                <a:solidFill>
                  <a:schemeClr val="bg1"/>
                </a:solidFill>
                <a:latin typeface="Bahnschrift" panose="020B0502040204020203" pitchFamily="34" charset="0"/>
              </a:defRPr>
            </a:lvl1pPr>
          </a:lstStyle>
          <a:p>
            <a:pPr lvl="0"/>
            <a:r>
              <a:rPr lang="en-AU" noProof="0"/>
              <a:t>XX Month Year</a:t>
            </a:r>
          </a:p>
        </p:txBody>
      </p:sp>
      <p:sp>
        <p:nvSpPr>
          <p:cNvPr id="9" name="Rectangle 8">
            <a:extLst>
              <a:ext uri="{FF2B5EF4-FFF2-40B4-BE49-F238E27FC236}">
                <a16:creationId xmlns:a16="http://schemas.microsoft.com/office/drawing/2014/main" id="{AF462D8B-69B1-3253-43E5-2429E3EAF490}"/>
              </a:ext>
            </a:extLst>
          </p:cNvPr>
          <p:cNvSpPr/>
          <p:nvPr userDrawn="1"/>
        </p:nvSpPr>
        <p:spPr>
          <a:xfrm>
            <a:off x="0" y="4323080"/>
            <a:ext cx="12192000" cy="71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12" name="Freeform 89">
            <a:extLst>
              <a:ext uri="{FF2B5EF4-FFF2-40B4-BE49-F238E27FC236}">
                <a16:creationId xmlns:a16="http://schemas.microsoft.com/office/drawing/2014/main" id="{A83A395E-178A-63EB-E20F-117A798712B2}"/>
              </a:ext>
            </a:extLst>
          </p:cNvPr>
          <p:cNvSpPr/>
          <p:nvPr userDrawn="1"/>
        </p:nvSpPr>
        <p:spPr>
          <a:xfrm>
            <a:off x="10596563" y="5023697"/>
            <a:ext cx="770844" cy="1177078"/>
          </a:xfrm>
          <a:custGeom>
            <a:avLst/>
            <a:gdLst>
              <a:gd name="connsiteX0" fmla="*/ 1586993 w 2606154"/>
              <a:gd name="connsiteY0" fmla="*/ 3771900 h 3979594"/>
              <a:gd name="connsiteX1" fmla="*/ 1557665 w 2606154"/>
              <a:gd name="connsiteY1" fmla="*/ 3862308 h 3979594"/>
              <a:gd name="connsiteX2" fmla="*/ 1558479 w 2606154"/>
              <a:gd name="connsiteY2" fmla="*/ 3864751 h 3979594"/>
              <a:gd name="connsiteX3" fmla="*/ 1622024 w 2606154"/>
              <a:gd name="connsiteY3" fmla="*/ 3864751 h 3979594"/>
              <a:gd name="connsiteX4" fmla="*/ 1623654 w 2606154"/>
              <a:gd name="connsiteY4" fmla="*/ 3862308 h 3979594"/>
              <a:gd name="connsiteX5" fmla="*/ 1591881 w 2606154"/>
              <a:gd name="connsiteY5" fmla="*/ 3771900 h 3979594"/>
              <a:gd name="connsiteX6" fmla="*/ 1586993 w 2606154"/>
              <a:gd name="connsiteY6" fmla="*/ 3771900 h 3979594"/>
              <a:gd name="connsiteX7" fmla="*/ 1331183 w 2606154"/>
              <a:gd name="connsiteY7" fmla="*/ 3733618 h 3979594"/>
              <a:gd name="connsiteX8" fmla="*/ 1309187 w 2606154"/>
              <a:gd name="connsiteY8" fmla="*/ 3735247 h 3979594"/>
              <a:gd name="connsiteX9" fmla="*/ 1306743 w 2606154"/>
              <a:gd name="connsiteY9" fmla="*/ 3739319 h 3979594"/>
              <a:gd name="connsiteX10" fmla="*/ 1305929 w 2606154"/>
              <a:gd name="connsiteY10" fmla="*/ 3739319 h 3979594"/>
              <a:gd name="connsiteX11" fmla="*/ 1305929 w 2606154"/>
              <a:gd name="connsiteY11" fmla="*/ 3848461 h 3979594"/>
              <a:gd name="connsiteX12" fmla="*/ 1308373 w 2606154"/>
              <a:gd name="connsiteY12" fmla="*/ 3852533 h 3979594"/>
              <a:gd name="connsiteX13" fmla="*/ 1343404 w 2606154"/>
              <a:gd name="connsiteY13" fmla="*/ 3858235 h 3979594"/>
              <a:gd name="connsiteX14" fmla="*/ 1368659 w 2606154"/>
              <a:gd name="connsiteY14" fmla="*/ 3851719 h 3979594"/>
              <a:gd name="connsiteX15" fmla="*/ 1389026 w 2606154"/>
              <a:gd name="connsiteY15" fmla="*/ 3800406 h 3979594"/>
              <a:gd name="connsiteX16" fmla="*/ 1331183 w 2606154"/>
              <a:gd name="connsiteY16" fmla="*/ 3733618 h 3979594"/>
              <a:gd name="connsiteX17" fmla="*/ 637892 w 2606154"/>
              <a:gd name="connsiteY17" fmla="*/ 3733618 h 3979594"/>
              <a:gd name="connsiteX18" fmla="*/ 615896 w 2606154"/>
              <a:gd name="connsiteY18" fmla="*/ 3735247 h 3979594"/>
              <a:gd name="connsiteX19" fmla="*/ 613452 w 2606154"/>
              <a:gd name="connsiteY19" fmla="*/ 3739319 h 3979594"/>
              <a:gd name="connsiteX20" fmla="*/ 612637 w 2606154"/>
              <a:gd name="connsiteY20" fmla="*/ 3739319 h 3979594"/>
              <a:gd name="connsiteX21" fmla="*/ 612637 w 2606154"/>
              <a:gd name="connsiteY21" fmla="*/ 3848461 h 3979594"/>
              <a:gd name="connsiteX22" fmla="*/ 615081 w 2606154"/>
              <a:gd name="connsiteY22" fmla="*/ 3852533 h 3979594"/>
              <a:gd name="connsiteX23" fmla="*/ 650113 w 2606154"/>
              <a:gd name="connsiteY23" fmla="*/ 3858235 h 3979594"/>
              <a:gd name="connsiteX24" fmla="*/ 675368 w 2606154"/>
              <a:gd name="connsiteY24" fmla="*/ 3851719 h 3979594"/>
              <a:gd name="connsiteX25" fmla="*/ 695735 w 2606154"/>
              <a:gd name="connsiteY25" fmla="*/ 3800406 h 3979594"/>
              <a:gd name="connsiteX26" fmla="*/ 637892 w 2606154"/>
              <a:gd name="connsiteY26" fmla="*/ 3733618 h 3979594"/>
              <a:gd name="connsiteX27" fmla="*/ 2147491 w 2606154"/>
              <a:gd name="connsiteY27" fmla="*/ 3729545 h 3979594"/>
              <a:gd name="connsiteX28" fmla="*/ 2049729 w 2606154"/>
              <a:gd name="connsiteY28" fmla="*/ 3839501 h 3979594"/>
              <a:gd name="connsiteX29" fmla="*/ 2157267 w 2606154"/>
              <a:gd name="connsiteY29" fmla="*/ 3967376 h 3979594"/>
              <a:gd name="connsiteX30" fmla="*/ 2249326 w 2606154"/>
              <a:gd name="connsiteY30" fmla="*/ 3852533 h 3979594"/>
              <a:gd name="connsiteX31" fmla="*/ 2147491 w 2606154"/>
              <a:gd name="connsiteY31" fmla="*/ 3729545 h 3979594"/>
              <a:gd name="connsiteX32" fmla="*/ 1107962 w 2606154"/>
              <a:gd name="connsiteY32" fmla="*/ 3729545 h 3979594"/>
              <a:gd name="connsiteX33" fmla="*/ 1010200 w 2606154"/>
              <a:gd name="connsiteY33" fmla="*/ 3839501 h 3979594"/>
              <a:gd name="connsiteX34" fmla="*/ 1117738 w 2606154"/>
              <a:gd name="connsiteY34" fmla="*/ 3967376 h 3979594"/>
              <a:gd name="connsiteX35" fmla="*/ 1209797 w 2606154"/>
              <a:gd name="connsiteY35" fmla="*/ 3852533 h 3979594"/>
              <a:gd name="connsiteX36" fmla="*/ 1107962 w 2606154"/>
              <a:gd name="connsiteY36" fmla="*/ 3729545 h 3979594"/>
              <a:gd name="connsiteX37" fmla="*/ 414671 w 2606154"/>
              <a:gd name="connsiteY37" fmla="*/ 3729545 h 3979594"/>
              <a:gd name="connsiteX38" fmla="*/ 316910 w 2606154"/>
              <a:gd name="connsiteY38" fmla="*/ 3839501 h 3979594"/>
              <a:gd name="connsiteX39" fmla="*/ 424447 w 2606154"/>
              <a:gd name="connsiteY39" fmla="*/ 3967376 h 3979594"/>
              <a:gd name="connsiteX40" fmla="*/ 516506 w 2606154"/>
              <a:gd name="connsiteY40" fmla="*/ 3852533 h 3979594"/>
              <a:gd name="connsiteX41" fmla="*/ 414671 w 2606154"/>
              <a:gd name="connsiteY41" fmla="*/ 3729545 h 3979594"/>
              <a:gd name="connsiteX42" fmla="*/ 566201 w 2606154"/>
              <a:gd name="connsiteY42" fmla="*/ 3723844 h 3979594"/>
              <a:gd name="connsiteX43" fmla="*/ 603676 w 2606154"/>
              <a:gd name="connsiteY43" fmla="*/ 3724659 h 3979594"/>
              <a:gd name="connsiteX44" fmla="*/ 642781 w 2606154"/>
              <a:gd name="connsiteY44" fmla="*/ 3723844 h 3979594"/>
              <a:gd name="connsiteX45" fmla="*/ 703881 w 2606154"/>
              <a:gd name="connsiteY45" fmla="*/ 3738505 h 3979594"/>
              <a:gd name="connsiteX46" fmla="*/ 726692 w 2606154"/>
              <a:gd name="connsiteY46" fmla="*/ 3784116 h 3979594"/>
              <a:gd name="connsiteX47" fmla="*/ 685958 w 2606154"/>
              <a:gd name="connsiteY47" fmla="*/ 3861493 h 3979594"/>
              <a:gd name="connsiteX48" fmla="*/ 755206 w 2606154"/>
              <a:gd name="connsiteY48" fmla="*/ 3947014 h 3979594"/>
              <a:gd name="connsiteX49" fmla="*/ 795940 w 2606154"/>
              <a:gd name="connsiteY49" fmla="*/ 3971449 h 3979594"/>
              <a:gd name="connsiteX50" fmla="*/ 798901 w 2606154"/>
              <a:gd name="connsiteY50" fmla="*/ 3971634 h 3979594"/>
              <a:gd name="connsiteX51" fmla="*/ 804902 w 2606154"/>
              <a:gd name="connsiteY51" fmla="*/ 3970634 h 3979594"/>
              <a:gd name="connsiteX52" fmla="*/ 814678 w 2606154"/>
              <a:gd name="connsiteY52" fmla="*/ 3951901 h 3979594"/>
              <a:gd name="connsiteX53" fmla="*/ 816307 w 2606154"/>
              <a:gd name="connsiteY53" fmla="*/ 3879412 h 3979594"/>
              <a:gd name="connsiteX54" fmla="*/ 816307 w 2606154"/>
              <a:gd name="connsiteY54" fmla="*/ 3819954 h 3979594"/>
              <a:gd name="connsiteX55" fmla="*/ 817936 w 2606154"/>
              <a:gd name="connsiteY55" fmla="*/ 3819954 h 3979594"/>
              <a:gd name="connsiteX56" fmla="*/ 817122 w 2606154"/>
              <a:gd name="connsiteY56" fmla="*/ 3747464 h 3979594"/>
              <a:gd name="connsiteX57" fmla="*/ 802458 w 2606154"/>
              <a:gd name="connsiteY57" fmla="*/ 3728731 h 3979594"/>
              <a:gd name="connsiteX58" fmla="*/ 791052 w 2606154"/>
              <a:gd name="connsiteY58" fmla="*/ 3727916 h 3979594"/>
              <a:gd name="connsiteX59" fmla="*/ 788608 w 2606154"/>
              <a:gd name="connsiteY59" fmla="*/ 3726287 h 3979594"/>
              <a:gd name="connsiteX60" fmla="*/ 794311 w 2606154"/>
              <a:gd name="connsiteY60" fmla="*/ 3723844 h 3979594"/>
              <a:gd name="connsiteX61" fmla="*/ 831786 w 2606154"/>
              <a:gd name="connsiteY61" fmla="*/ 3724659 h 3979594"/>
              <a:gd name="connsiteX62" fmla="*/ 874149 w 2606154"/>
              <a:gd name="connsiteY62" fmla="*/ 3723844 h 3979594"/>
              <a:gd name="connsiteX63" fmla="*/ 936065 w 2606154"/>
              <a:gd name="connsiteY63" fmla="*/ 3742577 h 3979594"/>
              <a:gd name="connsiteX64" fmla="*/ 953173 w 2606154"/>
              <a:gd name="connsiteY64" fmla="*/ 3782487 h 3979594"/>
              <a:gd name="connsiteX65" fmla="*/ 870891 w 2606154"/>
              <a:gd name="connsiteY65" fmla="*/ 3862307 h 3979594"/>
              <a:gd name="connsiteX66" fmla="*/ 863558 w 2606154"/>
              <a:gd name="connsiteY66" fmla="*/ 3862307 h 3979594"/>
              <a:gd name="connsiteX67" fmla="*/ 859485 w 2606154"/>
              <a:gd name="connsiteY67" fmla="*/ 3859864 h 3979594"/>
              <a:gd name="connsiteX68" fmla="*/ 868446 w 2606154"/>
              <a:gd name="connsiteY68" fmla="*/ 3856606 h 3979594"/>
              <a:gd name="connsiteX69" fmla="*/ 926289 w 2606154"/>
              <a:gd name="connsiteY69" fmla="*/ 3802035 h 3979594"/>
              <a:gd name="connsiteX70" fmla="*/ 907551 w 2606154"/>
              <a:gd name="connsiteY70" fmla="*/ 3750722 h 3979594"/>
              <a:gd name="connsiteX71" fmla="*/ 861929 w 2606154"/>
              <a:gd name="connsiteY71" fmla="*/ 3733618 h 3979594"/>
              <a:gd name="connsiteX72" fmla="*/ 847265 w 2606154"/>
              <a:gd name="connsiteY72" fmla="*/ 3735247 h 3979594"/>
              <a:gd name="connsiteX73" fmla="*/ 844821 w 2606154"/>
              <a:gd name="connsiteY73" fmla="*/ 3741763 h 3979594"/>
              <a:gd name="connsiteX74" fmla="*/ 844821 w 2606154"/>
              <a:gd name="connsiteY74" fmla="*/ 3879412 h 3979594"/>
              <a:gd name="connsiteX75" fmla="*/ 846450 w 2606154"/>
              <a:gd name="connsiteY75" fmla="*/ 3951901 h 3979594"/>
              <a:gd name="connsiteX76" fmla="*/ 859485 w 2606154"/>
              <a:gd name="connsiteY76" fmla="*/ 3970634 h 3979594"/>
              <a:gd name="connsiteX77" fmla="*/ 874149 w 2606154"/>
              <a:gd name="connsiteY77" fmla="*/ 3972263 h 3979594"/>
              <a:gd name="connsiteX78" fmla="*/ 876593 w 2606154"/>
              <a:gd name="connsiteY78" fmla="*/ 3973892 h 3979594"/>
              <a:gd name="connsiteX79" fmla="*/ 870891 w 2606154"/>
              <a:gd name="connsiteY79" fmla="*/ 3976336 h 3979594"/>
              <a:gd name="connsiteX80" fmla="*/ 830157 w 2606154"/>
              <a:gd name="connsiteY80" fmla="*/ 3975521 h 3979594"/>
              <a:gd name="connsiteX81" fmla="*/ 817631 w 2606154"/>
              <a:gd name="connsiteY81" fmla="*/ 3975929 h 3979594"/>
              <a:gd name="connsiteX82" fmla="*/ 804520 w 2606154"/>
              <a:gd name="connsiteY82" fmla="*/ 3976206 h 3979594"/>
              <a:gd name="connsiteX83" fmla="*/ 804087 w 2606154"/>
              <a:gd name="connsiteY83" fmla="*/ 3976336 h 3979594"/>
              <a:gd name="connsiteX84" fmla="*/ 798384 w 2606154"/>
              <a:gd name="connsiteY84" fmla="*/ 3976336 h 3979594"/>
              <a:gd name="connsiteX85" fmla="*/ 780461 w 2606154"/>
              <a:gd name="connsiteY85" fmla="*/ 3976336 h 3979594"/>
              <a:gd name="connsiteX86" fmla="*/ 744615 w 2606154"/>
              <a:gd name="connsiteY86" fmla="*/ 3969820 h 3979594"/>
              <a:gd name="connsiteX87" fmla="*/ 699808 w 2606154"/>
              <a:gd name="connsiteY87" fmla="*/ 3920951 h 3979594"/>
              <a:gd name="connsiteX88" fmla="*/ 663147 w 2606154"/>
              <a:gd name="connsiteY88" fmla="*/ 3871267 h 3979594"/>
              <a:gd name="connsiteX89" fmla="*/ 659074 w 2606154"/>
              <a:gd name="connsiteY89" fmla="*/ 3868823 h 3979594"/>
              <a:gd name="connsiteX90" fmla="*/ 618340 w 2606154"/>
              <a:gd name="connsiteY90" fmla="*/ 3868009 h 3979594"/>
              <a:gd name="connsiteX91" fmla="*/ 615896 w 2606154"/>
              <a:gd name="connsiteY91" fmla="*/ 3870452 h 3979594"/>
              <a:gd name="connsiteX92" fmla="*/ 615896 w 2606154"/>
              <a:gd name="connsiteY92" fmla="*/ 3878597 h 3979594"/>
              <a:gd name="connsiteX93" fmla="*/ 617525 w 2606154"/>
              <a:gd name="connsiteY93" fmla="*/ 3951087 h 3979594"/>
              <a:gd name="connsiteX94" fmla="*/ 630560 w 2606154"/>
              <a:gd name="connsiteY94" fmla="*/ 3969820 h 3979594"/>
              <a:gd name="connsiteX95" fmla="*/ 645225 w 2606154"/>
              <a:gd name="connsiteY95" fmla="*/ 3971449 h 3979594"/>
              <a:gd name="connsiteX96" fmla="*/ 647669 w 2606154"/>
              <a:gd name="connsiteY96" fmla="*/ 3973078 h 3979594"/>
              <a:gd name="connsiteX97" fmla="*/ 641966 w 2606154"/>
              <a:gd name="connsiteY97" fmla="*/ 3975521 h 3979594"/>
              <a:gd name="connsiteX98" fmla="*/ 601232 w 2606154"/>
              <a:gd name="connsiteY98" fmla="*/ 3974707 h 3979594"/>
              <a:gd name="connsiteX99" fmla="*/ 569460 w 2606154"/>
              <a:gd name="connsiteY99" fmla="*/ 3975521 h 3979594"/>
              <a:gd name="connsiteX100" fmla="*/ 563757 w 2606154"/>
              <a:gd name="connsiteY100" fmla="*/ 3973078 h 3979594"/>
              <a:gd name="connsiteX101" fmla="*/ 566201 w 2606154"/>
              <a:gd name="connsiteY101" fmla="*/ 3971449 h 3979594"/>
              <a:gd name="connsiteX102" fmla="*/ 575977 w 2606154"/>
              <a:gd name="connsiteY102" fmla="*/ 3969820 h 3979594"/>
              <a:gd name="connsiteX103" fmla="*/ 585753 w 2606154"/>
              <a:gd name="connsiteY103" fmla="*/ 3951087 h 3979594"/>
              <a:gd name="connsiteX104" fmla="*/ 587382 w 2606154"/>
              <a:gd name="connsiteY104" fmla="*/ 3878597 h 3979594"/>
              <a:gd name="connsiteX105" fmla="*/ 589826 w 2606154"/>
              <a:gd name="connsiteY105" fmla="*/ 3878597 h 3979594"/>
              <a:gd name="connsiteX106" fmla="*/ 589826 w 2606154"/>
              <a:gd name="connsiteY106" fmla="*/ 3819954 h 3979594"/>
              <a:gd name="connsiteX107" fmla="*/ 589012 w 2606154"/>
              <a:gd name="connsiteY107" fmla="*/ 3747464 h 3979594"/>
              <a:gd name="connsiteX108" fmla="*/ 574348 w 2606154"/>
              <a:gd name="connsiteY108" fmla="*/ 3728731 h 3979594"/>
              <a:gd name="connsiteX109" fmla="*/ 562942 w 2606154"/>
              <a:gd name="connsiteY109" fmla="*/ 3727916 h 3979594"/>
              <a:gd name="connsiteX110" fmla="*/ 560498 w 2606154"/>
              <a:gd name="connsiteY110" fmla="*/ 3726287 h 3979594"/>
              <a:gd name="connsiteX111" fmla="*/ 566201 w 2606154"/>
              <a:gd name="connsiteY111" fmla="*/ 3723844 h 3979594"/>
              <a:gd name="connsiteX112" fmla="*/ 1922640 w 2606154"/>
              <a:gd name="connsiteY112" fmla="*/ 3723030 h 3979594"/>
              <a:gd name="connsiteX113" fmla="*/ 1956041 w 2606154"/>
              <a:gd name="connsiteY113" fmla="*/ 3723844 h 3979594"/>
              <a:gd name="connsiteX114" fmla="*/ 1988629 w 2606154"/>
              <a:gd name="connsiteY114" fmla="*/ 3723030 h 3979594"/>
              <a:gd name="connsiteX115" fmla="*/ 1994331 w 2606154"/>
              <a:gd name="connsiteY115" fmla="*/ 3725473 h 3979594"/>
              <a:gd name="connsiteX116" fmla="*/ 1991887 w 2606154"/>
              <a:gd name="connsiteY116" fmla="*/ 3727102 h 3979594"/>
              <a:gd name="connsiteX117" fmla="*/ 1983740 w 2606154"/>
              <a:gd name="connsiteY117" fmla="*/ 3727917 h 3979594"/>
              <a:gd name="connsiteX118" fmla="*/ 1971520 w 2606154"/>
              <a:gd name="connsiteY118" fmla="*/ 3746650 h 3979594"/>
              <a:gd name="connsiteX119" fmla="*/ 1970706 w 2606154"/>
              <a:gd name="connsiteY119" fmla="*/ 3819140 h 3979594"/>
              <a:gd name="connsiteX120" fmla="*/ 1970706 w 2606154"/>
              <a:gd name="connsiteY120" fmla="*/ 3878597 h 3979594"/>
              <a:gd name="connsiteX121" fmla="*/ 1971520 w 2606154"/>
              <a:gd name="connsiteY121" fmla="*/ 3878597 h 3979594"/>
              <a:gd name="connsiteX122" fmla="*/ 1973150 w 2606154"/>
              <a:gd name="connsiteY122" fmla="*/ 3951087 h 3979594"/>
              <a:gd name="connsiteX123" fmla="*/ 1986185 w 2606154"/>
              <a:gd name="connsiteY123" fmla="*/ 3969820 h 3979594"/>
              <a:gd name="connsiteX124" fmla="*/ 2000849 w 2606154"/>
              <a:gd name="connsiteY124" fmla="*/ 3971449 h 3979594"/>
              <a:gd name="connsiteX125" fmla="*/ 2003293 w 2606154"/>
              <a:gd name="connsiteY125" fmla="*/ 3973078 h 3979594"/>
              <a:gd name="connsiteX126" fmla="*/ 1997590 w 2606154"/>
              <a:gd name="connsiteY126" fmla="*/ 3975522 h 3979594"/>
              <a:gd name="connsiteX127" fmla="*/ 1956856 w 2606154"/>
              <a:gd name="connsiteY127" fmla="*/ 3974707 h 3979594"/>
              <a:gd name="connsiteX128" fmla="*/ 1924269 w 2606154"/>
              <a:gd name="connsiteY128" fmla="*/ 3975522 h 3979594"/>
              <a:gd name="connsiteX129" fmla="*/ 1918566 w 2606154"/>
              <a:gd name="connsiteY129" fmla="*/ 3973078 h 3979594"/>
              <a:gd name="connsiteX130" fmla="*/ 1921010 w 2606154"/>
              <a:gd name="connsiteY130" fmla="*/ 3971449 h 3979594"/>
              <a:gd name="connsiteX131" fmla="*/ 1930786 w 2606154"/>
              <a:gd name="connsiteY131" fmla="*/ 3969820 h 3979594"/>
              <a:gd name="connsiteX132" fmla="*/ 1940563 w 2606154"/>
              <a:gd name="connsiteY132" fmla="*/ 3951087 h 3979594"/>
              <a:gd name="connsiteX133" fmla="*/ 1942192 w 2606154"/>
              <a:gd name="connsiteY133" fmla="*/ 3878597 h 3979594"/>
              <a:gd name="connsiteX134" fmla="*/ 1942192 w 2606154"/>
              <a:gd name="connsiteY134" fmla="*/ 3819954 h 3979594"/>
              <a:gd name="connsiteX135" fmla="*/ 1941377 w 2606154"/>
              <a:gd name="connsiteY135" fmla="*/ 3747465 h 3979594"/>
              <a:gd name="connsiteX136" fmla="*/ 1929972 w 2606154"/>
              <a:gd name="connsiteY136" fmla="*/ 3728732 h 3979594"/>
              <a:gd name="connsiteX137" fmla="*/ 1919381 w 2606154"/>
              <a:gd name="connsiteY137" fmla="*/ 3727102 h 3979594"/>
              <a:gd name="connsiteX138" fmla="*/ 1916937 w 2606154"/>
              <a:gd name="connsiteY138" fmla="*/ 3725473 h 3979594"/>
              <a:gd name="connsiteX139" fmla="*/ 1922640 w 2606154"/>
              <a:gd name="connsiteY139" fmla="*/ 3723030 h 3979594"/>
              <a:gd name="connsiteX140" fmla="*/ 1594325 w 2606154"/>
              <a:gd name="connsiteY140" fmla="*/ 3719772 h 3979594"/>
              <a:gd name="connsiteX141" fmla="*/ 1601657 w 2606154"/>
              <a:gd name="connsiteY141" fmla="*/ 3731989 h 3979594"/>
              <a:gd name="connsiteX142" fmla="*/ 1679866 w 2606154"/>
              <a:gd name="connsiteY142" fmla="*/ 3933168 h 3979594"/>
              <a:gd name="connsiteX143" fmla="*/ 1708380 w 2606154"/>
              <a:gd name="connsiteY143" fmla="*/ 3970635 h 3979594"/>
              <a:gd name="connsiteX144" fmla="*/ 1721415 w 2606154"/>
              <a:gd name="connsiteY144" fmla="*/ 3972264 h 3979594"/>
              <a:gd name="connsiteX145" fmla="*/ 1724674 w 2606154"/>
              <a:gd name="connsiteY145" fmla="*/ 3973893 h 3979594"/>
              <a:gd name="connsiteX146" fmla="*/ 1718156 w 2606154"/>
              <a:gd name="connsiteY146" fmla="*/ 3976336 h 3979594"/>
              <a:gd name="connsiteX147" fmla="*/ 1666017 w 2606154"/>
              <a:gd name="connsiteY147" fmla="*/ 3975522 h 3979594"/>
              <a:gd name="connsiteX148" fmla="*/ 1656241 w 2606154"/>
              <a:gd name="connsiteY148" fmla="*/ 3973078 h 3979594"/>
              <a:gd name="connsiteX149" fmla="*/ 1658685 w 2606154"/>
              <a:gd name="connsiteY149" fmla="*/ 3970635 h 3979594"/>
              <a:gd name="connsiteX150" fmla="*/ 1660314 w 2606154"/>
              <a:gd name="connsiteY150" fmla="*/ 3961675 h 3979594"/>
              <a:gd name="connsiteX151" fmla="*/ 1629356 w 2606154"/>
              <a:gd name="connsiteY151" fmla="*/ 3879412 h 3979594"/>
              <a:gd name="connsiteX152" fmla="*/ 1626098 w 2606154"/>
              <a:gd name="connsiteY152" fmla="*/ 3877783 h 3979594"/>
              <a:gd name="connsiteX153" fmla="*/ 1554406 w 2606154"/>
              <a:gd name="connsiteY153" fmla="*/ 3877783 h 3979594"/>
              <a:gd name="connsiteX154" fmla="*/ 1551147 w 2606154"/>
              <a:gd name="connsiteY154" fmla="*/ 3880227 h 3979594"/>
              <a:gd name="connsiteX155" fmla="*/ 1530780 w 2606154"/>
              <a:gd name="connsiteY155" fmla="*/ 3939684 h 3979594"/>
              <a:gd name="connsiteX156" fmla="*/ 1525892 w 2606154"/>
              <a:gd name="connsiteY156" fmla="*/ 3961675 h 3979594"/>
              <a:gd name="connsiteX157" fmla="*/ 1538927 w 2606154"/>
              <a:gd name="connsiteY157" fmla="*/ 3971449 h 3979594"/>
              <a:gd name="connsiteX158" fmla="*/ 1542186 w 2606154"/>
              <a:gd name="connsiteY158" fmla="*/ 3971449 h 3979594"/>
              <a:gd name="connsiteX159" fmla="*/ 1545444 w 2606154"/>
              <a:gd name="connsiteY159" fmla="*/ 3973078 h 3979594"/>
              <a:gd name="connsiteX160" fmla="*/ 1540556 w 2606154"/>
              <a:gd name="connsiteY160" fmla="*/ 3975522 h 3979594"/>
              <a:gd name="connsiteX161" fmla="*/ 1514487 w 2606154"/>
              <a:gd name="connsiteY161" fmla="*/ 3974707 h 3979594"/>
              <a:gd name="connsiteX162" fmla="*/ 1501569 w 2606154"/>
              <a:gd name="connsiteY162" fmla="*/ 3975079 h 3979594"/>
              <a:gd name="connsiteX163" fmla="*/ 1497378 w 2606154"/>
              <a:gd name="connsiteY163" fmla="*/ 3976336 h 3979594"/>
              <a:gd name="connsiteX164" fmla="*/ 1473752 w 2606154"/>
              <a:gd name="connsiteY164" fmla="*/ 3976336 h 3979594"/>
              <a:gd name="connsiteX165" fmla="*/ 1437906 w 2606154"/>
              <a:gd name="connsiteY165" fmla="*/ 3969820 h 3979594"/>
              <a:gd name="connsiteX166" fmla="*/ 1393099 w 2606154"/>
              <a:gd name="connsiteY166" fmla="*/ 3920951 h 3979594"/>
              <a:gd name="connsiteX167" fmla="*/ 1356438 w 2606154"/>
              <a:gd name="connsiteY167" fmla="*/ 3871267 h 3979594"/>
              <a:gd name="connsiteX168" fmla="*/ 1352365 w 2606154"/>
              <a:gd name="connsiteY168" fmla="*/ 3868823 h 3979594"/>
              <a:gd name="connsiteX169" fmla="*/ 1311631 w 2606154"/>
              <a:gd name="connsiteY169" fmla="*/ 3868009 h 3979594"/>
              <a:gd name="connsiteX170" fmla="*/ 1309187 w 2606154"/>
              <a:gd name="connsiteY170" fmla="*/ 3870452 h 3979594"/>
              <a:gd name="connsiteX171" fmla="*/ 1309187 w 2606154"/>
              <a:gd name="connsiteY171" fmla="*/ 3878597 h 3979594"/>
              <a:gd name="connsiteX172" fmla="*/ 1310816 w 2606154"/>
              <a:gd name="connsiteY172" fmla="*/ 3951087 h 3979594"/>
              <a:gd name="connsiteX173" fmla="*/ 1323851 w 2606154"/>
              <a:gd name="connsiteY173" fmla="*/ 3969820 h 3979594"/>
              <a:gd name="connsiteX174" fmla="*/ 1338516 w 2606154"/>
              <a:gd name="connsiteY174" fmla="*/ 3971449 h 3979594"/>
              <a:gd name="connsiteX175" fmla="*/ 1340960 w 2606154"/>
              <a:gd name="connsiteY175" fmla="*/ 3973078 h 3979594"/>
              <a:gd name="connsiteX176" fmla="*/ 1335257 w 2606154"/>
              <a:gd name="connsiteY176" fmla="*/ 3975521 h 3979594"/>
              <a:gd name="connsiteX177" fmla="*/ 1294523 w 2606154"/>
              <a:gd name="connsiteY177" fmla="*/ 3974707 h 3979594"/>
              <a:gd name="connsiteX178" fmla="*/ 1262751 w 2606154"/>
              <a:gd name="connsiteY178" fmla="*/ 3975521 h 3979594"/>
              <a:gd name="connsiteX179" fmla="*/ 1257048 w 2606154"/>
              <a:gd name="connsiteY179" fmla="*/ 3973078 h 3979594"/>
              <a:gd name="connsiteX180" fmla="*/ 1259492 w 2606154"/>
              <a:gd name="connsiteY180" fmla="*/ 3971449 h 3979594"/>
              <a:gd name="connsiteX181" fmla="*/ 1269268 w 2606154"/>
              <a:gd name="connsiteY181" fmla="*/ 3969820 h 3979594"/>
              <a:gd name="connsiteX182" fmla="*/ 1279044 w 2606154"/>
              <a:gd name="connsiteY182" fmla="*/ 3951087 h 3979594"/>
              <a:gd name="connsiteX183" fmla="*/ 1280674 w 2606154"/>
              <a:gd name="connsiteY183" fmla="*/ 3878597 h 3979594"/>
              <a:gd name="connsiteX184" fmla="*/ 1283117 w 2606154"/>
              <a:gd name="connsiteY184" fmla="*/ 3878597 h 3979594"/>
              <a:gd name="connsiteX185" fmla="*/ 1283117 w 2606154"/>
              <a:gd name="connsiteY185" fmla="*/ 3819954 h 3979594"/>
              <a:gd name="connsiteX186" fmla="*/ 1282303 w 2606154"/>
              <a:gd name="connsiteY186" fmla="*/ 3747464 h 3979594"/>
              <a:gd name="connsiteX187" fmla="*/ 1267639 w 2606154"/>
              <a:gd name="connsiteY187" fmla="*/ 3728731 h 3979594"/>
              <a:gd name="connsiteX188" fmla="*/ 1256233 w 2606154"/>
              <a:gd name="connsiteY188" fmla="*/ 3727916 h 3979594"/>
              <a:gd name="connsiteX189" fmla="*/ 1253789 w 2606154"/>
              <a:gd name="connsiteY189" fmla="*/ 3726287 h 3979594"/>
              <a:gd name="connsiteX190" fmla="*/ 1259492 w 2606154"/>
              <a:gd name="connsiteY190" fmla="*/ 3723844 h 3979594"/>
              <a:gd name="connsiteX191" fmla="*/ 1296967 w 2606154"/>
              <a:gd name="connsiteY191" fmla="*/ 3724659 h 3979594"/>
              <a:gd name="connsiteX192" fmla="*/ 1336072 w 2606154"/>
              <a:gd name="connsiteY192" fmla="*/ 3723844 h 3979594"/>
              <a:gd name="connsiteX193" fmla="*/ 1397172 w 2606154"/>
              <a:gd name="connsiteY193" fmla="*/ 3738505 h 3979594"/>
              <a:gd name="connsiteX194" fmla="*/ 1419984 w 2606154"/>
              <a:gd name="connsiteY194" fmla="*/ 3784116 h 3979594"/>
              <a:gd name="connsiteX195" fmla="*/ 1379250 w 2606154"/>
              <a:gd name="connsiteY195" fmla="*/ 3861493 h 3979594"/>
              <a:gd name="connsiteX196" fmla="*/ 1448497 w 2606154"/>
              <a:gd name="connsiteY196" fmla="*/ 3947014 h 3979594"/>
              <a:gd name="connsiteX197" fmla="*/ 1472530 w 2606154"/>
              <a:gd name="connsiteY197" fmla="*/ 3965951 h 3979594"/>
              <a:gd name="connsiteX198" fmla="*/ 1484648 w 2606154"/>
              <a:gd name="connsiteY198" fmla="*/ 3969940 h 3979594"/>
              <a:gd name="connsiteX199" fmla="*/ 1500739 w 2606154"/>
              <a:gd name="connsiteY199" fmla="*/ 3959945 h 3979594"/>
              <a:gd name="connsiteX200" fmla="*/ 1511228 w 2606154"/>
              <a:gd name="connsiteY200" fmla="*/ 3938870 h 3979594"/>
              <a:gd name="connsiteX201" fmla="*/ 1586993 w 2606154"/>
              <a:gd name="connsiteY201" fmla="*/ 3732804 h 3979594"/>
              <a:gd name="connsiteX202" fmla="*/ 1594325 w 2606154"/>
              <a:gd name="connsiteY202" fmla="*/ 3719772 h 3979594"/>
              <a:gd name="connsiteX203" fmla="*/ 2330793 w 2606154"/>
              <a:gd name="connsiteY203" fmla="*/ 3718143 h 3979594"/>
              <a:gd name="connsiteX204" fmla="*/ 2342199 w 2606154"/>
              <a:gd name="connsiteY204" fmla="*/ 3728732 h 3979594"/>
              <a:gd name="connsiteX205" fmla="*/ 2448107 w 2606154"/>
              <a:gd name="connsiteY205" fmla="*/ 3843575 h 3979594"/>
              <a:gd name="connsiteX206" fmla="*/ 2527946 w 2606154"/>
              <a:gd name="connsiteY206" fmla="*/ 3930725 h 3979594"/>
              <a:gd name="connsiteX207" fmla="*/ 2523872 w 2606154"/>
              <a:gd name="connsiteY207" fmla="*/ 3761311 h 3979594"/>
              <a:gd name="connsiteX208" fmla="*/ 2510837 w 2606154"/>
              <a:gd name="connsiteY208" fmla="*/ 3729546 h 3979594"/>
              <a:gd name="connsiteX209" fmla="*/ 2494544 w 2606154"/>
              <a:gd name="connsiteY209" fmla="*/ 3727917 h 3979594"/>
              <a:gd name="connsiteX210" fmla="*/ 2492100 w 2606154"/>
              <a:gd name="connsiteY210" fmla="*/ 3725474 h 3979594"/>
              <a:gd name="connsiteX211" fmla="*/ 2498617 w 2606154"/>
              <a:gd name="connsiteY211" fmla="*/ 3723030 h 3979594"/>
              <a:gd name="connsiteX212" fmla="*/ 2533648 w 2606154"/>
              <a:gd name="connsiteY212" fmla="*/ 3723845 h 3979594"/>
              <a:gd name="connsiteX213" fmla="*/ 2562162 w 2606154"/>
              <a:gd name="connsiteY213" fmla="*/ 3723030 h 3979594"/>
              <a:gd name="connsiteX214" fmla="*/ 2567865 w 2606154"/>
              <a:gd name="connsiteY214" fmla="*/ 3725474 h 3979594"/>
              <a:gd name="connsiteX215" fmla="*/ 2563791 w 2606154"/>
              <a:gd name="connsiteY215" fmla="*/ 3727917 h 3979594"/>
              <a:gd name="connsiteX216" fmla="*/ 2555645 w 2606154"/>
              <a:gd name="connsiteY216" fmla="*/ 3728732 h 3979594"/>
              <a:gd name="connsiteX217" fmla="*/ 2543424 w 2606154"/>
              <a:gd name="connsiteY217" fmla="*/ 3758053 h 3979594"/>
              <a:gd name="connsiteX218" fmla="*/ 2542610 w 2606154"/>
              <a:gd name="connsiteY218" fmla="*/ 3953531 h 3979594"/>
              <a:gd name="connsiteX219" fmla="*/ 2539351 w 2606154"/>
              <a:gd name="connsiteY219" fmla="*/ 3977151 h 3979594"/>
              <a:gd name="connsiteX220" fmla="*/ 2514911 w 2606154"/>
              <a:gd name="connsiteY220" fmla="*/ 3955974 h 3979594"/>
              <a:gd name="connsiteX221" fmla="*/ 2427740 w 2606154"/>
              <a:gd name="connsiteY221" fmla="*/ 3865566 h 3979594"/>
              <a:gd name="connsiteX222" fmla="*/ 2340570 w 2606154"/>
              <a:gd name="connsiteY222" fmla="*/ 3769456 h 3979594"/>
              <a:gd name="connsiteX223" fmla="*/ 2347902 w 2606154"/>
              <a:gd name="connsiteY223" fmla="*/ 3929910 h 3979594"/>
              <a:gd name="connsiteX224" fmla="*/ 2360937 w 2606154"/>
              <a:gd name="connsiteY224" fmla="*/ 3969006 h 3979594"/>
              <a:gd name="connsiteX225" fmla="*/ 2377230 w 2606154"/>
              <a:gd name="connsiteY225" fmla="*/ 3970635 h 3979594"/>
              <a:gd name="connsiteX226" fmla="*/ 2379674 w 2606154"/>
              <a:gd name="connsiteY226" fmla="*/ 3972264 h 3979594"/>
              <a:gd name="connsiteX227" fmla="*/ 2373971 w 2606154"/>
              <a:gd name="connsiteY227" fmla="*/ 3974707 h 3979594"/>
              <a:gd name="connsiteX228" fmla="*/ 2338940 w 2606154"/>
              <a:gd name="connsiteY228" fmla="*/ 3973893 h 3979594"/>
              <a:gd name="connsiteX229" fmla="*/ 2307168 w 2606154"/>
              <a:gd name="connsiteY229" fmla="*/ 3974707 h 3979594"/>
              <a:gd name="connsiteX230" fmla="*/ 2301465 w 2606154"/>
              <a:gd name="connsiteY230" fmla="*/ 3972264 h 3979594"/>
              <a:gd name="connsiteX231" fmla="*/ 2303909 w 2606154"/>
              <a:gd name="connsiteY231" fmla="*/ 3970635 h 3979594"/>
              <a:gd name="connsiteX232" fmla="*/ 2317759 w 2606154"/>
              <a:gd name="connsiteY232" fmla="*/ 3969006 h 3979594"/>
              <a:gd name="connsiteX233" fmla="*/ 2327535 w 2606154"/>
              <a:gd name="connsiteY233" fmla="*/ 3926653 h 3979594"/>
              <a:gd name="connsiteX234" fmla="*/ 2327535 w 2606154"/>
              <a:gd name="connsiteY234" fmla="*/ 3735248 h 3979594"/>
              <a:gd name="connsiteX235" fmla="*/ 2330793 w 2606154"/>
              <a:gd name="connsiteY235" fmla="*/ 3718143 h 3979594"/>
              <a:gd name="connsiteX236" fmla="*/ 1682310 w 2606154"/>
              <a:gd name="connsiteY236" fmla="*/ 3718143 h 3979594"/>
              <a:gd name="connsiteX237" fmla="*/ 1696974 w 2606154"/>
              <a:gd name="connsiteY237" fmla="*/ 3722215 h 3979594"/>
              <a:gd name="connsiteX238" fmla="*/ 1723044 w 2606154"/>
              <a:gd name="connsiteY238" fmla="*/ 3723845 h 3979594"/>
              <a:gd name="connsiteX239" fmla="*/ 1848504 w 2606154"/>
              <a:gd name="connsiteY239" fmla="*/ 3723845 h 3979594"/>
              <a:gd name="connsiteX240" fmla="*/ 1872130 w 2606154"/>
              <a:gd name="connsiteY240" fmla="*/ 3722215 h 3979594"/>
              <a:gd name="connsiteX241" fmla="*/ 1881091 w 2606154"/>
              <a:gd name="connsiteY241" fmla="*/ 3720587 h 3979594"/>
              <a:gd name="connsiteX242" fmla="*/ 1882721 w 2606154"/>
              <a:gd name="connsiteY242" fmla="*/ 3724659 h 3979594"/>
              <a:gd name="connsiteX243" fmla="*/ 1881906 w 2606154"/>
              <a:gd name="connsiteY243" fmla="*/ 3761311 h 3979594"/>
              <a:gd name="connsiteX244" fmla="*/ 1879462 w 2606154"/>
              <a:gd name="connsiteY244" fmla="*/ 3765384 h 3979594"/>
              <a:gd name="connsiteX245" fmla="*/ 1877018 w 2606154"/>
              <a:gd name="connsiteY245" fmla="*/ 3759682 h 3979594"/>
              <a:gd name="connsiteX246" fmla="*/ 1877018 w 2606154"/>
              <a:gd name="connsiteY246" fmla="*/ 3756424 h 3979594"/>
              <a:gd name="connsiteX247" fmla="*/ 1836284 w 2606154"/>
              <a:gd name="connsiteY247" fmla="*/ 3737691 h 3979594"/>
              <a:gd name="connsiteX248" fmla="*/ 1793921 w 2606154"/>
              <a:gd name="connsiteY248" fmla="*/ 3736877 h 3979594"/>
              <a:gd name="connsiteX249" fmla="*/ 1793921 w 2606154"/>
              <a:gd name="connsiteY249" fmla="*/ 3878598 h 3979594"/>
              <a:gd name="connsiteX250" fmla="*/ 1794735 w 2606154"/>
              <a:gd name="connsiteY250" fmla="*/ 3878598 h 3979594"/>
              <a:gd name="connsiteX251" fmla="*/ 1796365 w 2606154"/>
              <a:gd name="connsiteY251" fmla="*/ 3951087 h 3979594"/>
              <a:gd name="connsiteX252" fmla="*/ 1809400 w 2606154"/>
              <a:gd name="connsiteY252" fmla="*/ 3969820 h 3979594"/>
              <a:gd name="connsiteX253" fmla="*/ 1824878 w 2606154"/>
              <a:gd name="connsiteY253" fmla="*/ 3971449 h 3979594"/>
              <a:gd name="connsiteX254" fmla="*/ 1827323 w 2606154"/>
              <a:gd name="connsiteY254" fmla="*/ 3973079 h 3979594"/>
              <a:gd name="connsiteX255" fmla="*/ 1821620 w 2606154"/>
              <a:gd name="connsiteY255" fmla="*/ 3975522 h 3979594"/>
              <a:gd name="connsiteX256" fmla="*/ 1780886 w 2606154"/>
              <a:gd name="connsiteY256" fmla="*/ 3974707 h 3979594"/>
              <a:gd name="connsiteX257" fmla="*/ 1748299 w 2606154"/>
              <a:gd name="connsiteY257" fmla="*/ 3975522 h 3979594"/>
              <a:gd name="connsiteX258" fmla="*/ 1742596 w 2606154"/>
              <a:gd name="connsiteY258" fmla="*/ 3973079 h 3979594"/>
              <a:gd name="connsiteX259" fmla="*/ 1745040 w 2606154"/>
              <a:gd name="connsiteY259" fmla="*/ 3971449 h 3979594"/>
              <a:gd name="connsiteX260" fmla="*/ 1754816 w 2606154"/>
              <a:gd name="connsiteY260" fmla="*/ 3969820 h 3979594"/>
              <a:gd name="connsiteX261" fmla="*/ 1764592 w 2606154"/>
              <a:gd name="connsiteY261" fmla="*/ 3951087 h 3979594"/>
              <a:gd name="connsiteX262" fmla="*/ 1766222 w 2606154"/>
              <a:gd name="connsiteY262" fmla="*/ 3878598 h 3979594"/>
              <a:gd name="connsiteX263" fmla="*/ 1766222 w 2606154"/>
              <a:gd name="connsiteY263" fmla="*/ 3737691 h 3979594"/>
              <a:gd name="connsiteX264" fmla="*/ 1716526 w 2606154"/>
              <a:gd name="connsiteY264" fmla="*/ 3738505 h 3979594"/>
              <a:gd name="connsiteX265" fmla="*/ 1682310 w 2606154"/>
              <a:gd name="connsiteY265" fmla="*/ 3749094 h 3979594"/>
              <a:gd name="connsiteX266" fmla="*/ 1676607 w 2606154"/>
              <a:gd name="connsiteY266" fmla="*/ 3759682 h 3979594"/>
              <a:gd name="connsiteX267" fmla="*/ 1673348 w 2606154"/>
              <a:gd name="connsiteY267" fmla="*/ 3762940 h 3979594"/>
              <a:gd name="connsiteX268" fmla="*/ 1671719 w 2606154"/>
              <a:gd name="connsiteY268" fmla="*/ 3759682 h 3979594"/>
              <a:gd name="connsiteX269" fmla="*/ 1679051 w 2606154"/>
              <a:gd name="connsiteY269" fmla="*/ 3724659 h 3979594"/>
              <a:gd name="connsiteX270" fmla="*/ 1682310 w 2606154"/>
              <a:gd name="connsiteY270" fmla="*/ 3718143 h 3979594"/>
              <a:gd name="connsiteX271" fmla="*/ 163750 w 2606154"/>
              <a:gd name="connsiteY271" fmla="*/ 3718143 h 3979594"/>
              <a:gd name="connsiteX272" fmla="*/ 211816 w 2606154"/>
              <a:gd name="connsiteY272" fmla="*/ 3722215 h 3979594"/>
              <a:gd name="connsiteX273" fmla="*/ 246033 w 2606154"/>
              <a:gd name="connsiteY273" fmla="*/ 3727103 h 3979594"/>
              <a:gd name="connsiteX274" fmla="*/ 250106 w 2606154"/>
              <a:gd name="connsiteY274" fmla="*/ 3730360 h 3979594"/>
              <a:gd name="connsiteX275" fmla="*/ 248476 w 2606154"/>
              <a:gd name="connsiteY275" fmla="*/ 3749094 h 3979594"/>
              <a:gd name="connsiteX276" fmla="*/ 247662 w 2606154"/>
              <a:gd name="connsiteY276" fmla="*/ 3783302 h 3979594"/>
              <a:gd name="connsiteX277" fmla="*/ 244403 w 2606154"/>
              <a:gd name="connsiteY277" fmla="*/ 3790633 h 3979594"/>
              <a:gd name="connsiteX278" fmla="*/ 241959 w 2606154"/>
              <a:gd name="connsiteY278" fmla="*/ 3783302 h 3979594"/>
              <a:gd name="connsiteX279" fmla="*/ 228110 w 2606154"/>
              <a:gd name="connsiteY279" fmla="*/ 3749094 h 3979594"/>
              <a:gd name="connsiteX280" fmla="*/ 161306 w 2606154"/>
              <a:gd name="connsiteY280" fmla="*/ 3730360 h 3979594"/>
              <a:gd name="connsiteX281" fmla="*/ 84726 w 2606154"/>
              <a:gd name="connsiteY281" fmla="*/ 3754795 h 3979594"/>
              <a:gd name="connsiteX282" fmla="*/ 54583 w 2606154"/>
              <a:gd name="connsiteY282" fmla="*/ 3841945 h 3979594"/>
              <a:gd name="connsiteX283" fmla="*/ 175155 w 2606154"/>
              <a:gd name="connsiteY283" fmla="*/ 3964119 h 3979594"/>
              <a:gd name="connsiteX284" fmla="*/ 232998 w 2606154"/>
              <a:gd name="connsiteY284" fmla="*/ 3947015 h 3979594"/>
              <a:gd name="connsiteX285" fmla="*/ 245218 w 2606154"/>
              <a:gd name="connsiteY285" fmla="*/ 3919322 h 3979594"/>
              <a:gd name="connsiteX286" fmla="*/ 248476 w 2606154"/>
              <a:gd name="connsiteY286" fmla="*/ 3914435 h 3979594"/>
              <a:gd name="connsiteX287" fmla="*/ 250921 w 2606154"/>
              <a:gd name="connsiteY287" fmla="*/ 3919322 h 3979594"/>
              <a:gd name="connsiteX288" fmla="*/ 243588 w 2606154"/>
              <a:gd name="connsiteY288" fmla="*/ 3961676 h 3979594"/>
              <a:gd name="connsiteX289" fmla="*/ 234627 w 2606154"/>
              <a:gd name="connsiteY289" fmla="*/ 3971449 h 3979594"/>
              <a:gd name="connsiteX290" fmla="*/ 174341 w 2606154"/>
              <a:gd name="connsiteY290" fmla="*/ 3978780 h 3979594"/>
              <a:gd name="connsiteX291" fmla="*/ 65174 w 2606154"/>
              <a:gd name="connsiteY291" fmla="*/ 3943757 h 3979594"/>
              <a:gd name="connsiteX292" fmla="*/ 24440 w 2606154"/>
              <a:gd name="connsiteY292" fmla="*/ 3845204 h 3979594"/>
              <a:gd name="connsiteX293" fmla="*/ 61915 w 2606154"/>
              <a:gd name="connsiteY293" fmla="*/ 3753981 h 3979594"/>
              <a:gd name="connsiteX294" fmla="*/ 163750 w 2606154"/>
              <a:gd name="connsiteY294" fmla="*/ 3718143 h 3979594"/>
              <a:gd name="connsiteX295" fmla="*/ 2149935 w 2606154"/>
              <a:gd name="connsiteY295" fmla="*/ 3717328 h 3979594"/>
              <a:gd name="connsiteX296" fmla="*/ 2281098 w 2606154"/>
              <a:gd name="connsiteY296" fmla="*/ 3842760 h 3979594"/>
              <a:gd name="connsiteX297" fmla="*/ 2147491 w 2606154"/>
              <a:gd name="connsiteY297" fmla="*/ 3979594 h 3979594"/>
              <a:gd name="connsiteX298" fmla="*/ 2017957 w 2606154"/>
              <a:gd name="connsiteY298" fmla="*/ 3848461 h 3979594"/>
              <a:gd name="connsiteX299" fmla="*/ 2149935 w 2606154"/>
              <a:gd name="connsiteY299" fmla="*/ 3717328 h 3979594"/>
              <a:gd name="connsiteX300" fmla="*/ 1110406 w 2606154"/>
              <a:gd name="connsiteY300" fmla="*/ 3717328 h 3979594"/>
              <a:gd name="connsiteX301" fmla="*/ 1241569 w 2606154"/>
              <a:gd name="connsiteY301" fmla="*/ 3842760 h 3979594"/>
              <a:gd name="connsiteX302" fmla="*/ 1107962 w 2606154"/>
              <a:gd name="connsiteY302" fmla="*/ 3979594 h 3979594"/>
              <a:gd name="connsiteX303" fmla="*/ 978428 w 2606154"/>
              <a:gd name="connsiteY303" fmla="*/ 3848461 h 3979594"/>
              <a:gd name="connsiteX304" fmla="*/ 1110406 w 2606154"/>
              <a:gd name="connsiteY304" fmla="*/ 3717328 h 3979594"/>
              <a:gd name="connsiteX305" fmla="*/ 417115 w 2606154"/>
              <a:gd name="connsiteY305" fmla="*/ 3717328 h 3979594"/>
              <a:gd name="connsiteX306" fmla="*/ 548278 w 2606154"/>
              <a:gd name="connsiteY306" fmla="*/ 3842760 h 3979594"/>
              <a:gd name="connsiteX307" fmla="*/ 414671 w 2606154"/>
              <a:gd name="connsiteY307" fmla="*/ 3979594 h 3979594"/>
              <a:gd name="connsiteX308" fmla="*/ 285137 w 2606154"/>
              <a:gd name="connsiteY308" fmla="*/ 3848461 h 3979594"/>
              <a:gd name="connsiteX309" fmla="*/ 417115 w 2606154"/>
              <a:gd name="connsiteY309" fmla="*/ 3717328 h 3979594"/>
              <a:gd name="connsiteX310" fmla="*/ 1120589 w 2606154"/>
              <a:gd name="connsiteY310" fmla="*/ 3245943 h 3979594"/>
              <a:gd name="connsiteX311" fmla="*/ 1116923 w 2606154"/>
              <a:gd name="connsiteY311" fmla="*/ 3251440 h 3979594"/>
              <a:gd name="connsiteX312" fmla="*/ 1072116 w 2606154"/>
              <a:gd name="connsiteY312" fmla="*/ 3388274 h 3979594"/>
              <a:gd name="connsiteX313" fmla="*/ 1073745 w 2606154"/>
              <a:gd name="connsiteY313" fmla="*/ 3391533 h 3979594"/>
              <a:gd name="connsiteX314" fmla="*/ 1170692 w 2606154"/>
              <a:gd name="connsiteY314" fmla="*/ 3391533 h 3979594"/>
              <a:gd name="connsiteX315" fmla="*/ 1172321 w 2606154"/>
              <a:gd name="connsiteY315" fmla="*/ 3388274 h 3979594"/>
              <a:gd name="connsiteX316" fmla="*/ 1124255 w 2606154"/>
              <a:gd name="connsiteY316" fmla="*/ 3251440 h 3979594"/>
              <a:gd name="connsiteX317" fmla="*/ 1120589 w 2606154"/>
              <a:gd name="connsiteY317" fmla="*/ 3245943 h 3979594"/>
              <a:gd name="connsiteX318" fmla="*/ 2078243 w 2606154"/>
              <a:gd name="connsiteY318" fmla="*/ 3192797 h 3979594"/>
              <a:gd name="connsiteX319" fmla="*/ 2044027 w 2606154"/>
              <a:gd name="connsiteY319" fmla="*/ 3196056 h 3979594"/>
              <a:gd name="connsiteX320" fmla="*/ 2039953 w 2606154"/>
              <a:gd name="connsiteY320" fmla="*/ 3201757 h 3979594"/>
              <a:gd name="connsiteX321" fmla="*/ 2040768 w 2606154"/>
              <a:gd name="connsiteY321" fmla="*/ 3201757 h 3979594"/>
              <a:gd name="connsiteX322" fmla="*/ 2040768 w 2606154"/>
              <a:gd name="connsiteY322" fmla="*/ 3367913 h 3979594"/>
              <a:gd name="connsiteX323" fmla="*/ 2044027 w 2606154"/>
              <a:gd name="connsiteY323" fmla="*/ 3373614 h 3979594"/>
              <a:gd name="connsiteX324" fmla="*/ 2096981 w 2606154"/>
              <a:gd name="connsiteY324" fmla="*/ 3381759 h 3979594"/>
              <a:gd name="connsiteX325" fmla="*/ 2135271 w 2606154"/>
              <a:gd name="connsiteY325" fmla="*/ 3371985 h 3979594"/>
              <a:gd name="connsiteX326" fmla="*/ 2166229 w 2606154"/>
              <a:gd name="connsiteY326" fmla="*/ 3293794 h 3979594"/>
              <a:gd name="connsiteX327" fmla="*/ 2078243 w 2606154"/>
              <a:gd name="connsiteY327" fmla="*/ 3192797 h 3979594"/>
              <a:gd name="connsiteX328" fmla="*/ 473328 w 2606154"/>
              <a:gd name="connsiteY328" fmla="*/ 3192797 h 3979594"/>
              <a:gd name="connsiteX329" fmla="*/ 439112 w 2606154"/>
              <a:gd name="connsiteY329" fmla="*/ 3196056 h 3979594"/>
              <a:gd name="connsiteX330" fmla="*/ 435038 w 2606154"/>
              <a:gd name="connsiteY330" fmla="*/ 3201757 h 3979594"/>
              <a:gd name="connsiteX331" fmla="*/ 435853 w 2606154"/>
              <a:gd name="connsiteY331" fmla="*/ 3201757 h 3979594"/>
              <a:gd name="connsiteX332" fmla="*/ 435853 w 2606154"/>
              <a:gd name="connsiteY332" fmla="*/ 3367913 h 3979594"/>
              <a:gd name="connsiteX333" fmla="*/ 439112 w 2606154"/>
              <a:gd name="connsiteY333" fmla="*/ 3373614 h 3979594"/>
              <a:gd name="connsiteX334" fmla="*/ 492066 w 2606154"/>
              <a:gd name="connsiteY334" fmla="*/ 3381759 h 3979594"/>
              <a:gd name="connsiteX335" fmla="*/ 530355 w 2606154"/>
              <a:gd name="connsiteY335" fmla="*/ 3371985 h 3979594"/>
              <a:gd name="connsiteX336" fmla="*/ 561313 w 2606154"/>
              <a:gd name="connsiteY336" fmla="*/ 3293794 h 3979594"/>
              <a:gd name="connsiteX337" fmla="*/ 473328 w 2606154"/>
              <a:gd name="connsiteY337" fmla="*/ 3192797 h 3979594"/>
              <a:gd name="connsiteX338" fmla="*/ 2246882 w 2606154"/>
              <a:gd name="connsiteY338" fmla="*/ 3177322 h 3979594"/>
              <a:gd name="connsiteX339" fmla="*/ 2297391 w 2606154"/>
              <a:gd name="connsiteY339" fmla="*/ 3178951 h 3979594"/>
              <a:gd name="connsiteX340" fmla="*/ 2339755 w 2606154"/>
              <a:gd name="connsiteY340" fmla="*/ 3177322 h 3979594"/>
              <a:gd name="connsiteX341" fmla="*/ 2346272 w 2606154"/>
              <a:gd name="connsiteY341" fmla="*/ 3180580 h 3979594"/>
              <a:gd name="connsiteX342" fmla="*/ 2338940 w 2606154"/>
              <a:gd name="connsiteY342" fmla="*/ 3185467 h 3979594"/>
              <a:gd name="connsiteX343" fmla="*/ 2332423 w 2606154"/>
              <a:gd name="connsiteY343" fmla="*/ 3194426 h 3979594"/>
              <a:gd name="connsiteX344" fmla="*/ 2338940 w 2606154"/>
              <a:gd name="connsiteY344" fmla="*/ 3213974 h 3979594"/>
              <a:gd name="connsiteX345" fmla="*/ 2431813 w 2606154"/>
              <a:gd name="connsiteY345" fmla="*/ 3374429 h 3979594"/>
              <a:gd name="connsiteX346" fmla="*/ 2515725 w 2606154"/>
              <a:gd name="connsiteY346" fmla="*/ 3225377 h 3979594"/>
              <a:gd name="connsiteX347" fmla="*/ 2524687 w 2606154"/>
              <a:gd name="connsiteY347" fmla="*/ 3199313 h 3979594"/>
              <a:gd name="connsiteX348" fmla="*/ 2516540 w 2606154"/>
              <a:gd name="connsiteY348" fmla="*/ 3185467 h 3979594"/>
              <a:gd name="connsiteX349" fmla="*/ 2509208 w 2606154"/>
              <a:gd name="connsiteY349" fmla="*/ 3180580 h 3979594"/>
              <a:gd name="connsiteX350" fmla="*/ 2517355 w 2606154"/>
              <a:gd name="connsiteY350" fmla="*/ 3177322 h 3979594"/>
              <a:gd name="connsiteX351" fmla="*/ 2550756 w 2606154"/>
              <a:gd name="connsiteY351" fmla="*/ 3178951 h 3979594"/>
              <a:gd name="connsiteX352" fmla="*/ 2599637 w 2606154"/>
              <a:gd name="connsiteY352" fmla="*/ 3177322 h 3979594"/>
              <a:gd name="connsiteX353" fmla="*/ 2606154 w 2606154"/>
              <a:gd name="connsiteY353" fmla="*/ 3180580 h 3979594"/>
              <a:gd name="connsiteX354" fmla="*/ 2599637 w 2606154"/>
              <a:gd name="connsiteY354" fmla="*/ 3184652 h 3979594"/>
              <a:gd name="connsiteX355" fmla="*/ 2576011 w 2606154"/>
              <a:gd name="connsiteY355" fmla="*/ 3191983 h 3979594"/>
              <a:gd name="connsiteX356" fmla="*/ 2549127 w 2606154"/>
              <a:gd name="connsiteY356" fmla="*/ 3218046 h 3979594"/>
              <a:gd name="connsiteX357" fmla="*/ 2452180 w 2606154"/>
              <a:gd name="connsiteY357" fmla="*/ 3379315 h 3979594"/>
              <a:gd name="connsiteX358" fmla="*/ 2444848 w 2606154"/>
              <a:gd name="connsiteY358" fmla="*/ 3429814 h 3979594"/>
              <a:gd name="connsiteX359" fmla="*/ 2444848 w 2606154"/>
              <a:gd name="connsiteY359" fmla="*/ 3472982 h 3979594"/>
              <a:gd name="connsiteX360" fmla="*/ 2446478 w 2606154"/>
              <a:gd name="connsiteY360" fmla="*/ 3523480 h 3979594"/>
              <a:gd name="connsiteX361" fmla="*/ 2467659 w 2606154"/>
              <a:gd name="connsiteY361" fmla="*/ 3551172 h 3979594"/>
              <a:gd name="connsiteX362" fmla="*/ 2490470 w 2606154"/>
              <a:gd name="connsiteY362" fmla="*/ 3553616 h 3979594"/>
              <a:gd name="connsiteX363" fmla="*/ 2494544 w 2606154"/>
              <a:gd name="connsiteY363" fmla="*/ 3556874 h 3979594"/>
              <a:gd name="connsiteX364" fmla="*/ 2486397 w 2606154"/>
              <a:gd name="connsiteY364" fmla="*/ 3560946 h 3979594"/>
              <a:gd name="connsiteX365" fmla="*/ 2424481 w 2606154"/>
              <a:gd name="connsiteY365" fmla="*/ 3559317 h 3979594"/>
              <a:gd name="connsiteX366" fmla="*/ 2374786 w 2606154"/>
              <a:gd name="connsiteY366" fmla="*/ 3560946 h 3979594"/>
              <a:gd name="connsiteX367" fmla="*/ 2366639 w 2606154"/>
              <a:gd name="connsiteY367" fmla="*/ 3556874 h 3979594"/>
              <a:gd name="connsiteX368" fmla="*/ 2370712 w 2606154"/>
              <a:gd name="connsiteY368" fmla="*/ 3553616 h 3979594"/>
              <a:gd name="connsiteX369" fmla="*/ 2386191 w 2606154"/>
              <a:gd name="connsiteY369" fmla="*/ 3551172 h 3979594"/>
              <a:gd name="connsiteX370" fmla="*/ 2401670 w 2606154"/>
              <a:gd name="connsiteY370" fmla="*/ 3523480 h 3979594"/>
              <a:gd name="connsiteX371" fmla="*/ 2403300 w 2606154"/>
              <a:gd name="connsiteY371" fmla="*/ 3472982 h 3979594"/>
              <a:gd name="connsiteX372" fmla="*/ 2403300 w 2606154"/>
              <a:gd name="connsiteY372" fmla="*/ 3428185 h 3979594"/>
              <a:gd name="connsiteX373" fmla="*/ 2401670 w 2606154"/>
              <a:gd name="connsiteY373" fmla="*/ 3428185 h 3979594"/>
              <a:gd name="connsiteX374" fmla="*/ 2390265 w 2606154"/>
              <a:gd name="connsiteY374" fmla="*/ 3375243 h 3979594"/>
              <a:gd name="connsiteX375" fmla="*/ 2301465 w 2606154"/>
              <a:gd name="connsiteY375" fmla="*/ 3229449 h 3979594"/>
              <a:gd name="connsiteX376" fmla="*/ 2267249 w 2606154"/>
              <a:gd name="connsiteY376" fmla="*/ 3191983 h 3979594"/>
              <a:gd name="connsiteX377" fmla="*/ 2245252 w 2606154"/>
              <a:gd name="connsiteY377" fmla="*/ 3183838 h 3979594"/>
              <a:gd name="connsiteX378" fmla="*/ 2240364 w 2606154"/>
              <a:gd name="connsiteY378" fmla="*/ 3180580 h 3979594"/>
              <a:gd name="connsiteX379" fmla="*/ 2246882 w 2606154"/>
              <a:gd name="connsiteY379" fmla="*/ 3177322 h 3979594"/>
              <a:gd name="connsiteX380" fmla="*/ 1560923 w 2606154"/>
              <a:gd name="connsiteY380" fmla="*/ 3176507 h 3979594"/>
              <a:gd name="connsiteX381" fmla="*/ 1619580 w 2606154"/>
              <a:gd name="connsiteY381" fmla="*/ 3178136 h 3979594"/>
              <a:gd name="connsiteX382" fmla="*/ 1670090 w 2606154"/>
              <a:gd name="connsiteY382" fmla="*/ 3176507 h 3979594"/>
              <a:gd name="connsiteX383" fmla="*/ 1678236 w 2606154"/>
              <a:gd name="connsiteY383" fmla="*/ 3180579 h 3979594"/>
              <a:gd name="connsiteX384" fmla="*/ 1674163 w 2606154"/>
              <a:gd name="connsiteY384" fmla="*/ 3183838 h 3979594"/>
              <a:gd name="connsiteX385" fmla="*/ 1661128 w 2606154"/>
              <a:gd name="connsiteY385" fmla="*/ 3185467 h 3979594"/>
              <a:gd name="connsiteX386" fmla="*/ 1642391 w 2606154"/>
              <a:gd name="connsiteY386" fmla="*/ 3213974 h 3979594"/>
              <a:gd name="connsiteX387" fmla="*/ 1641576 w 2606154"/>
              <a:gd name="connsiteY387" fmla="*/ 3323115 h 3979594"/>
              <a:gd name="connsiteX388" fmla="*/ 1641576 w 2606154"/>
              <a:gd name="connsiteY388" fmla="*/ 3393976 h 3979594"/>
              <a:gd name="connsiteX389" fmla="*/ 1679866 w 2606154"/>
              <a:gd name="connsiteY389" fmla="*/ 3519407 h 3979594"/>
              <a:gd name="connsiteX390" fmla="*/ 1756446 w 2606154"/>
              <a:gd name="connsiteY390" fmla="*/ 3547100 h 3979594"/>
              <a:gd name="connsiteX391" fmla="*/ 1836284 w 2606154"/>
              <a:gd name="connsiteY391" fmla="*/ 3510448 h 3979594"/>
              <a:gd name="connsiteX392" fmla="*/ 1865612 w 2606154"/>
              <a:gd name="connsiteY392" fmla="*/ 3386646 h 3979594"/>
              <a:gd name="connsiteX393" fmla="*/ 1865612 w 2606154"/>
              <a:gd name="connsiteY393" fmla="*/ 3323115 h 3979594"/>
              <a:gd name="connsiteX394" fmla="*/ 1864798 w 2606154"/>
              <a:gd name="connsiteY394" fmla="*/ 3213974 h 3979594"/>
              <a:gd name="connsiteX395" fmla="*/ 1842801 w 2606154"/>
              <a:gd name="connsiteY395" fmla="*/ 3185467 h 3979594"/>
              <a:gd name="connsiteX396" fmla="*/ 1825693 w 2606154"/>
              <a:gd name="connsiteY396" fmla="*/ 3183838 h 3979594"/>
              <a:gd name="connsiteX397" fmla="*/ 1821620 w 2606154"/>
              <a:gd name="connsiteY397" fmla="*/ 3180579 h 3979594"/>
              <a:gd name="connsiteX398" fmla="*/ 1829767 w 2606154"/>
              <a:gd name="connsiteY398" fmla="*/ 3176507 h 3979594"/>
              <a:gd name="connsiteX399" fmla="*/ 1883535 w 2606154"/>
              <a:gd name="connsiteY399" fmla="*/ 3178136 h 3979594"/>
              <a:gd name="connsiteX400" fmla="*/ 1925898 w 2606154"/>
              <a:gd name="connsiteY400" fmla="*/ 3176507 h 3979594"/>
              <a:gd name="connsiteX401" fmla="*/ 1934045 w 2606154"/>
              <a:gd name="connsiteY401" fmla="*/ 3180579 h 3979594"/>
              <a:gd name="connsiteX402" fmla="*/ 1929972 w 2606154"/>
              <a:gd name="connsiteY402" fmla="*/ 3183838 h 3979594"/>
              <a:gd name="connsiteX403" fmla="*/ 1916937 w 2606154"/>
              <a:gd name="connsiteY403" fmla="*/ 3185467 h 3979594"/>
              <a:gd name="connsiteX404" fmla="*/ 1898199 w 2606154"/>
              <a:gd name="connsiteY404" fmla="*/ 3213974 h 3979594"/>
              <a:gd name="connsiteX405" fmla="*/ 1897385 w 2606154"/>
              <a:gd name="connsiteY405" fmla="*/ 3323115 h 3979594"/>
              <a:gd name="connsiteX406" fmla="*/ 1897385 w 2606154"/>
              <a:gd name="connsiteY406" fmla="*/ 3377686 h 3979594"/>
              <a:gd name="connsiteX407" fmla="*/ 1850948 w 2606154"/>
              <a:gd name="connsiteY407" fmla="*/ 3529181 h 3979594"/>
              <a:gd name="connsiteX408" fmla="*/ 1746669 w 2606154"/>
              <a:gd name="connsiteY408" fmla="*/ 3566648 h 3979594"/>
              <a:gd name="connsiteX409" fmla="*/ 1642391 w 2606154"/>
              <a:gd name="connsiteY409" fmla="*/ 3530810 h 3979594"/>
              <a:gd name="connsiteX410" fmla="*/ 1598398 w 2606154"/>
              <a:gd name="connsiteY410" fmla="*/ 3397234 h 3979594"/>
              <a:gd name="connsiteX411" fmla="*/ 1598398 w 2606154"/>
              <a:gd name="connsiteY411" fmla="*/ 3323115 h 3979594"/>
              <a:gd name="connsiteX412" fmla="*/ 1596769 w 2606154"/>
              <a:gd name="connsiteY412" fmla="*/ 3323115 h 3979594"/>
              <a:gd name="connsiteX413" fmla="*/ 1595954 w 2606154"/>
              <a:gd name="connsiteY413" fmla="*/ 3213974 h 3979594"/>
              <a:gd name="connsiteX414" fmla="*/ 1573958 w 2606154"/>
              <a:gd name="connsiteY414" fmla="*/ 3185467 h 3979594"/>
              <a:gd name="connsiteX415" fmla="*/ 1556849 w 2606154"/>
              <a:gd name="connsiteY415" fmla="*/ 3183838 h 3979594"/>
              <a:gd name="connsiteX416" fmla="*/ 1552776 w 2606154"/>
              <a:gd name="connsiteY416" fmla="*/ 3180579 h 3979594"/>
              <a:gd name="connsiteX417" fmla="*/ 1560923 w 2606154"/>
              <a:gd name="connsiteY417" fmla="*/ 3176507 h 3979594"/>
              <a:gd name="connsiteX418" fmla="*/ 1963374 w 2606154"/>
              <a:gd name="connsiteY418" fmla="*/ 3174879 h 3979594"/>
              <a:gd name="connsiteX419" fmla="*/ 2020401 w 2606154"/>
              <a:gd name="connsiteY419" fmla="*/ 3176508 h 3979594"/>
              <a:gd name="connsiteX420" fmla="*/ 2079873 w 2606154"/>
              <a:gd name="connsiteY420" fmla="*/ 3174879 h 3979594"/>
              <a:gd name="connsiteX421" fmla="*/ 2172746 w 2606154"/>
              <a:gd name="connsiteY421" fmla="*/ 3196870 h 3979594"/>
              <a:gd name="connsiteX422" fmla="*/ 2207777 w 2606154"/>
              <a:gd name="connsiteY422" fmla="*/ 3266101 h 3979594"/>
              <a:gd name="connsiteX423" fmla="*/ 2146676 w 2606154"/>
              <a:gd name="connsiteY423" fmla="*/ 3383388 h 3979594"/>
              <a:gd name="connsiteX424" fmla="*/ 2251770 w 2606154"/>
              <a:gd name="connsiteY424" fmla="*/ 3512892 h 3979594"/>
              <a:gd name="connsiteX425" fmla="*/ 2313685 w 2606154"/>
              <a:gd name="connsiteY425" fmla="*/ 3549544 h 3979594"/>
              <a:gd name="connsiteX426" fmla="*/ 2333238 w 2606154"/>
              <a:gd name="connsiteY426" fmla="*/ 3551173 h 3979594"/>
              <a:gd name="connsiteX427" fmla="*/ 2338126 w 2606154"/>
              <a:gd name="connsiteY427" fmla="*/ 3554431 h 3979594"/>
              <a:gd name="connsiteX428" fmla="*/ 2325905 w 2606154"/>
              <a:gd name="connsiteY428" fmla="*/ 3558503 h 3979594"/>
              <a:gd name="connsiteX429" fmla="*/ 2290060 w 2606154"/>
              <a:gd name="connsiteY429" fmla="*/ 3558503 h 3979594"/>
              <a:gd name="connsiteX430" fmla="*/ 2235476 w 2606154"/>
              <a:gd name="connsiteY430" fmla="*/ 3548729 h 3979594"/>
              <a:gd name="connsiteX431" fmla="*/ 2167043 w 2606154"/>
              <a:gd name="connsiteY431" fmla="*/ 3474611 h 3979594"/>
              <a:gd name="connsiteX432" fmla="*/ 2111645 w 2606154"/>
              <a:gd name="connsiteY432" fmla="*/ 3399678 h 3979594"/>
              <a:gd name="connsiteX433" fmla="*/ 2105128 w 2606154"/>
              <a:gd name="connsiteY433" fmla="*/ 3396420 h 3979594"/>
              <a:gd name="connsiteX434" fmla="*/ 2043212 w 2606154"/>
              <a:gd name="connsiteY434" fmla="*/ 3395605 h 3979594"/>
              <a:gd name="connsiteX435" fmla="*/ 2039953 w 2606154"/>
              <a:gd name="connsiteY435" fmla="*/ 3399678 h 3979594"/>
              <a:gd name="connsiteX436" fmla="*/ 2039953 w 2606154"/>
              <a:gd name="connsiteY436" fmla="*/ 3411895 h 3979594"/>
              <a:gd name="connsiteX437" fmla="*/ 2042398 w 2606154"/>
              <a:gd name="connsiteY437" fmla="*/ 3521851 h 3979594"/>
              <a:gd name="connsiteX438" fmla="*/ 2061950 w 2606154"/>
              <a:gd name="connsiteY438" fmla="*/ 3549544 h 3979594"/>
              <a:gd name="connsiteX439" fmla="*/ 2084761 w 2606154"/>
              <a:gd name="connsiteY439" fmla="*/ 3551987 h 3979594"/>
              <a:gd name="connsiteX440" fmla="*/ 2088834 w 2606154"/>
              <a:gd name="connsiteY440" fmla="*/ 3555245 h 3979594"/>
              <a:gd name="connsiteX441" fmla="*/ 2080687 w 2606154"/>
              <a:gd name="connsiteY441" fmla="*/ 3559318 h 3979594"/>
              <a:gd name="connsiteX442" fmla="*/ 2018772 w 2606154"/>
              <a:gd name="connsiteY442" fmla="*/ 3557689 h 3979594"/>
              <a:gd name="connsiteX443" fmla="*/ 1970706 w 2606154"/>
              <a:gd name="connsiteY443" fmla="*/ 3559318 h 3979594"/>
              <a:gd name="connsiteX444" fmla="*/ 1962559 w 2606154"/>
              <a:gd name="connsiteY444" fmla="*/ 3555245 h 3979594"/>
              <a:gd name="connsiteX445" fmla="*/ 1966632 w 2606154"/>
              <a:gd name="connsiteY445" fmla="*/ 3551987 h 3979594"/>
              <a:gd name="connsiteX446" fmla="*/ 1982112 w 2606154"/>
              <a:gd name="connsiteY446" fmla="*/ 3549544 h 3979594"/>
              <a:gd name="connsiteX447" fmla="*/ 1996776 w 2606154"/>
              <a:gd name="connsiteY447" fmla="*/ 3521851 h 3979594"/>
              <a:gd name="connsiteX448" fmla="*/ 1999220 w 2606154"/>
              <a:gd name="connsiteY448" fmla="*/ 3411895 h 3979594"/>
              <a:gd name="connsiteX449" fmla="*/ 1999220 w 2606154"/>
              <a:gd name="connsiteY449" fmla="*/ 3321487 h 3979594"/>
              <a:gd name="connsiteX450" fmla="*/ 1998405 w 2606154"/>
              <a:gd name="connsiteY450" fmla="*/ 3212345 h 3979594"/>
              <a:gd name="connsiteX451" fmla="*/ 1976409 w 2606154"/>
              <a:gd name="connsiteY451" fmla="*/ 3183838 h 3979594"/>
              <a:gd name="connsiteX452" fmla="*/ 1959300 w 2606154"/>
              <a:gd name="connsiteY452" fmla="*/ 3182209 h 3979594"/>
              <a:gd name="connsiteX453" fmla="*/ 1955227 w 2606154"/>
              <a:gd name="connsiteY453" fmla="*/ 3178951 h 3979594"/>
              <a:gd name="connsiteX454" fmla="*/ 1963374 w 2606154"/>
              <a:gd name="connsiteY454" fmla="*/ 3174879 h 3979594"/>
              <a:gd name="connsiteX455" fmla="*/ 911625 w 2606154"/>
              <a:gd name="connsiteY455" fmla="*/ 3172435 h 3979594"/>
              <a:gd name="connsiteX456" fmla="*/ 914069 w 2606154"/>
              <a:gd name="connsiteY456" fmla="*/ 3177322 h 3979594"/>
              <a:gd name="connsiteX457" fmla="*/ 909996 w 2606154"/>
              <a:gd name="connsiteY457" fmla="*/ 3200942 h 3979594"/>
              <a:gd name="connsiteX458" fmla="*/ 907552 w 2606154"/>
              <a:gd name="connsiteY458" fmla="*/ 3234336 h 3979594"/>
              <a:gd name="connsiteX459" fmla="*/ 904293 w 2606154"/>
              <a:gd name="connsiteY459" fmla="*/ 3240038 h 3979594"/>
              <a:gd name="connsiteX460" fmla="*/ 900219 w 2606154"/>
              <a:gd name="connsiteY460" fmla="*/ 3233522 h 3979594"/>
              <a:gd name="connsiteX461" fmla="*/ 896961 w 2606154"/>
              <a:gd name="connsiteY461" fmla="*/ 3215603 h 3979594"/>
              <a:gd name="connsiteX462" fmla="*/ 861115 w 2606154"/>
              <a:gd name="connsiteY462" fmla="*/ 3198499 h 3979594"/>
              <a:gd name="connsiteX463" fmla="*/ 791867 w 2606154"/>
              <a:gd name="connsiteY463" fmla="*/ 3196870 h 3979594"/>
              <a:gd name="connsiteX464" fmla="*/ 788609 w 2606154"/>
              <a:gd name="connsiteY464" fmla="*/ 3201757 h 3979594"/>
              <a:gd name="connsiteX465" fmla="*/ 788609 w 2606154"/>
              <a:gd name="connsiteY465" fmla="*/ 3341849 h 3979594"/>
              <a:gd name="connsiteX466" fmla="*/ 791867 w 2606154"/>
              <a:gd name="connsiteY466" fmla="*/ 3346736 h 3979594"/>
              <a:gd name="connsiteX467" fmla="*/ 872520 w 2606154"/>
              <a:gd name="connsiteY467" fmla="*/ 3345922 h 3979594"/>
              <a:gd name="connsiteX468" fmla="*/ 896146 w 2606154"/>
              <a:gd name="connsiteY468" fmla="*/ 3338591 h 3979594"/>
              <a:gd name="connsiteX469" fmla="*/ 903478 w 2606154"/>
              <a:gd name="connsiteY469" fmla="*/ 3332075 h 3979594"/>
              <a:gd name="connsiteX470" fmla="*/ 905922 w 2606154"/>
              <a:gd name="connsiteY470" fmla="*/ 3336148 h 3979594"/>
              <a:gd name="connsiteX471" fmla="*/ 901849 w 2606154"/>
              <a:gd name="connsiteY471" fmla="*/ 3364655 h 3979594"/>
              <a:gd name="connsiteX472" fmla="*/ 899405 w 2606154"/>
              <a:gd name="connsiteY472" fmla="*/ 3397234 h 3979594"/>
              <a:gd name="connsiteX473" fmla="*/ 896146 w 2606154"/>
              <a:gd name="connsiteY473" fmla="*/ 3407008 h 3979594"/>
              <a:gd name="connsiteX474" fmla="*/ 892887 w 2606154"/>
              <a:gd name="connsiteY474" fmla="*/ 3402121 h 3979594"/>
              <a:gd name="connsiteX475" fmla="*/ 890443 w 2606154"/>
              <a:gd name="connsiteY475" fmla="*/ 3385017 h 3979594"/>
              <a:gd name="connsiteX476" fmla="*/ 864374 w 2606154"/>
              <a:gd name="connsiteY476" fmla="*/ 3367098 h 3979594"/>
              <a:gd name="connsiteX477" fmla="*/ 791867 w 2606154"/>
              <a:gd name="connsiteY477" fmla="*/ 3364655 h 3979594"/>
              <a:gd name="connsiteX478" fmla="*/ 788609 w 2606154"/>
              <a:gd name="connsiteY478" fmla="*/ 3367912 h 3979594"/>
              <a:gd name="connsiteX479" fmla="*/ 788609 w 2606154"/>
              <a:gd name="connsiteY479" fmla="*/ 3412709 h 3979594"/>
              <a:gd name="connsiteX480" fmla="*/ 788609 w 2606154"/>
              <a:gd name="connsiteY480" fmla="*/ 3499046 h 3979594"/>
              <a:gd name="connsiteX481" fmla="*/ 847265 w 2606154"/>
              <a:gd name="connsiteY481" fmla="*/ 3540584 h 3979594"/>
              <a:gd name="connsiteX482" fmla="*/ 896146 w 2606154"/>
              <a:gd name="connsiteY482" fmla="*/ 3534883 h 3979594"/>
              <a:gd name="connsiteX483" fmla="*/ 918957 w 2606154"/>
              <a:gd name="connsiteY483" fmla="*/ 3498231 h 3979594"/>
              <a:gd name="connsiteX484" fmla="*/ 923845 w 2606154"/>
              <a:gd name="connsiteY484" fmla="*/ 3490901 h 3979594"/>
              <a:gd name="connsiteX485" fmla="*/ 927104 w 2606154"/>
              <a:gd name="connsiteY485" fmla="*/ 3498231 h 3979594"/>
              <a:gd name="connsiteX486" fmla="*/ 920586 w 2606154"/>
              <a:gd name="connsiteY486" fmla="*/ 3547100 h 3979594"/>
              <a:gd name="connsiteX487" fmla="*/ 892887 w 2606154"/>
              <a:gd name="connsiteY487" fmla="*/ 3560132 h 3979594"/>
              <a:gd name="connsiteX488" fmla="*/ 767427 w 2606154"/>
              <a:gd name="connsiteY488" fmla="*/ 3556874 h 3979594"/>
              <a:gd name="connsiteX489" fmla="*/ 747060 w 2606154"/>
              <a:gd name="connsiteY489" fmla="*/ 3557689 h 3979594"/>
              <a:gd name="connsiteX490" fmla="*/ 724949 w 2606154"/>
              <a:gd name="connsiteY490" fmla="*/ 3558303 h 3979594"/>
              <a:gd name="connsiteX491" fmla="*/ 722619 w 2606154"/>
              <a:gd name="connsiteY491" fmla="*/ 3558503 h 3979594"/>
              <a:gd name="connsiteX492" fmla="*/ 717732 w 2606154"/>
              <a:gd name="connsiteY492" fmla="*/ 3558503 h 3979594"/>
              <a:gd name="connsiteX493" fmla="*/ 686774 w 2606154"/>
              <a:gd name="connsiteY493" fmla="*/ 3558503 h 3979594"/>
              <a:gd name="connsiteX494" fmla="*/ 632190 w 2606154"/>
              <a:gd name="connsiteY494" fmla="*/ 3548729 h 3979594"/>
              <a:gd name="connsiteX495" fmla="*/ 563757 w 2606154"/>
              <a:gd name="connsiteY495" fmla="*/ 3474611 h 3979594"/>
              <a:gd name="connsiteX496" fmla="*/ 508359 w 2606154"/>
              <a:gd name="connsiteY496" fmla="*/ 3399678 h 3979594"/>
              <a:gd name="connsiteX497" fmla="*/ 501842 w 2606154"/>
              <a:gd name="connsiteY497" fmla="*/ 3396420 h 3979594"/>
              <a:gd name="connsiteX498" fmla="*/ 439112 w 2606154"/>
              <a:gd name="connsiteY498" fmla="*/ 3395605 h 3979594"/>
              <a:gd name="connsiteX499" fmla="*/ 435853 w 2606154"/>
              <a:gd name="connsiteY499" fmla="*/ 3399678 h 3979594"/>
              <a:gd name="connsiteX500" fmla="*/ 435853 w 2606154"/>
              <a:gd name="connsiteY500" fmla="*/ 3411895 h 3979594"/>
              <a:gd name="connsiteX501" fmla="*/ 438297 w 2606154"/>
              <a:gd name="connsiteY501" fmla="*/ 3521851 h 3979594"/>
              <a:gd name="connsiteX502" fmla="*/ 457849 w 2606154"/>
              <a:gd name="connsiteY502" fmla="*/ 3549544 h 3979594"/>
              <a:gd name="connsiteX503" fmla="*/ 480660 w 2606154"/>
              <a:gd name="connsiteY503" fmla="*/ 3551987 h 3979594"/>
              <a:gd name="connsiteX504" fmla="*/ 484733 w 2606154"/>
              <a:gd name="connsiteY504" fmla="*/ 3555245 h 3979594"/>
              <a:gd name="connsiteX505" fmla="*/ 476587 w 2606154"/>
              <a:gd name="connsiteY505" fmla="*/ 3559318 h 3979594"/>
              <a:gd name="connsiteX506" fmla="*/ 413856 w 2606154"/>
              <a:gd name="connsiteY506" fmla="*/ 3557689 h 3979594"/>
              <a:gd name="connsiteX507" fmla="*/ 366605 w 2606154"/>
              <a:gd name="connsiteY507" fmla="*/ 3559318 h 3979594"/>
              <a:gd name="connsiteX508" fmla="*/ 358458 w 2606154"/>
              <a:gd name="connsiteY508" fmla="*/ 3555245 h 3979594"/>
              <a:gd name="connsiteX509" fmla="*/ 362532 w 2606154"/>
              <a:gd name="connsiteY509" fmla="*/ 3551987 h 3979594"/>
              <a:gd name="connsiteX510" fmla="*/ 378011 w 2606154"/>
              <a:gd name="connsiteY510" fmla="*/ 3549544 h 3979594"/>
              <a:gd name="connsiteX511" fmla="*/ 392675 w 2606154"/>
              <a:gd name="connsiteY511" fmla="*/ 3521851 h 3979594"/>
              <a:gd name="connsiteX512" fmla="*/ 395119 w 2606154"/>
              <a:gd name="connsiteY512" fmla="*/ 3411895 h 3979594"/>
              <a:gd name="connsiteX513" fmla="*/ 395934 w 2606154"/>
              <a:gd name="connsiteY513" fmla="*/ 3411895 h 3979594"/>
              <a:gd name="connsiteX514" fmla="*/ 395934 w 2606154"/>
              <a:gd name="connsiteY514" fmla="*/ 3321487 h 3979594"/>
              <a:gd name="connsiteX515" fmla="*/ 395119 w 2606154"/>
              <a:gd name="connsiteY515" fmla="*/ 3212345 h 3979594"/>
              <a:gd name="connsiteX516" fmla="*/ 373123 w 2606154"/>
              <a:gd name="connsiteY516" fmla="*/ 3183838 h 3979594"/>
              <a:gd name="connsiteX517" fmla="*/ 356014 w 2606154"/>
              <a:gd name="connsiteY517" fmla="*/ 3182209 h 3979594"/>
              <a:gd name="connsiteX518" fmla="*/ 351941 w 2606154"/>
              <a:gd name="connsiteY518" fmla="*/ 3178951 h 3979594"/>
              <a:gd name="connsiteX519" fmla="*/ 360088 w 2606154"/>
              <a:gd name="connsiteY519" fmla="*/ 3174879 h 3979594"/>
              <a:gd name="connsiteX520" fmla="*/ 417115 w 2606154"/>
              <a:gd name="connsiteY520" fmla="*/ 3176508 h 3979594"/>
              <a:gd name="connsiteX521" fmla="*/ 476587 w 2606154"/>
              <a:gd name="connsiteY521" fmla="*/ 3174879 h 3979594"/>
              <a:gd name="connsiteX522" fmla="*/ 569460 w 2606154"/>
              <a:gd name="connsiteY522" fmla="*/ 3196870 h 3979594"/>
              <a:gd name="connsiteX523" fmla="*/ 604491 w 2606154"/>
              <a:gd name="connsiteY523" fmla="*/ 3266101 h 3979594"/>
              <a:gd name="connsiteX524" fmla="*/ 543390 w 2606154"/>
              <a:gd name="connsiteY524" fmla="*/ 3383388 h 3979594"/>
              <a:gd name="connsiteX525" fmla="*/ 648484 w 2606154"/>
              <a:gd name="connsiteY525" fmla="*/ 3512892 h 3979594"/>
              <a:gd name="connsiteX526" fmla="*/ 710399 w 2606154"/>
              <a:gd name="connsiteY526" fmla="*/ 3549544 h 3979594"/>
              <a:gd name="connsiteX527" fmla="*/ 719286 w 2606154"/>
              <a:gd name="connsiteY527" fmla="*/ 3550285 h 3979594"/>
              <a:gd name="connsiteX528" fmla="*/ 729137 w 2606154"/>
              <a:gd name="connsiteY528" fmla="*/ 3548729 h 3979594"/>
              <a:gd name="connsiteX529" fmla="*/ 743801 w 2606154"/>
              <a:gd name="connsiteY529" fmla="*/ 3521037 h 3979594"/>
              <a:gd name="connsiteX530" fmla="*/ 746245 w 2606154"/>
              <a:gd name="connsiteY530" fmla="*/ 3411081 h 3979594"/>
              <a:gd name="connsiteX531" fmla="*/ 746245 w 2606154"/>
              <a:gd name="connsiteY531" fmla="*/ 3323116 h 3979594"/>
              <a:gd name="connsiteX532" fmla="*/ 745431 w 2606154"/>
              <a:gd name="connsiteY532" fmla="*/ 3323116 h 3979594"/>
              <a:gd name="connsiteX533" fmla="*/ 744616 w 2606154"/>
              <a:gd name="connsiteY533" fmla="*/ 3213974 h 3979594"/>
              <a:gd name="connsiteX534" fmla="*/ 722620 w 2606154"/>
              <a:gd name="connsiteY534" fmla="*/ 3185467 h 3979594"/>
              <a:gd name="connsiteX535" fmla="*/ 705511 w 2606154"/>
              <a:gd name="connsiteY535" fmla="*/ 3183838 h 3979594"/>
              <a:gd name="connsiteX536" fmla="*/ 701438 w 2606154"/>
              <a:gd name="connsiteY536" fmla="*/ 3180580 h 3979594"/>
              <a:gd name="connsiteX537" fmla="*/ 709585 w 2606154"/>
              <a:gd name="connsiteY537" fmla="*/ 3176507 h 3979594"/>
              <a:gd name="connsiteX538" fmla="*/ 766612 w 2606154"/>
              <a:gd name="connsiteY538" fmla="*/ 3178137 h 3979594"/>
              <a:gd name="connsiteX539" fmla="*/ 882296 w 2606154"/>
              <a:gd name="connsiteY539" fmla="*/ 3177322 h 3979594"/>
              <a:gd name="connsiteX540" fmla="*/ 904293 w 2606154"/>
              <a:gd name="connsiteY540" fmla="*/ 3174879 h 3979594"/>
              <a:gd name="connsiteX541" fmla="*/ 911625 w 2606154"/>
              <a:gd name="connsiteY541" fmla="*/ 3172435 h 3979594"/>
              <a:gd name="connsiteX542" fmla="*/ 1450942 w 2606154"/>
              <a:gd name="connsiteY542" fmla="*/ 3168362 h 3979594"/>
              <a:gd name="connsiteX543" fmla="*/ 1498193 w 2606154"/>
              <a:gd name="connsiteY543" fmla="*/ 3173249 h 3979594"/>
              <a:gd name="connsiteX544" fmla="*/ 1516116 w 2606154"/>
              <a:gd name="connsiteY544" fmla="*/ 3175693 h 3979594"/>
              <a:gd name="connsiteX545" fmla="*/ 1521004 w 2606154"/>
              <a:gd name="connsiteY545" fmla="*/ 3178951 h 3979594"/>
              <a:gd name="connsiteX546" fmla="*/ 1519375 w 2606154"/>
              <a:gd name="connsiteY546" fmla="*/ 3232707 h 3979594"/>
              <a:gd name="connsiteX547" fmla="*/ 1516116 w 2606154"/>
              <a:gd name="connsiteY547" fmla="*/ 3244110 h 3979594"/>
              <a:gd name="connsiteX548" fmla="*/ 1512043 w 2606154"/>
              <a:gd name="connsiteY548" fmla="*/ 3237594 h 3979594"/>
              <a:gd name="connsiteX549" fmla="*/ 1505525 w 2606154"/>
              <a:gd name="connsiteY549" fmla="*/ 3212345 h 3979594"/>
              <a:gd name="connsiteX550" fmla="*/ 1441980 w 2606154"/>
              <a:gd name="connsiteY550" fmla="*/ 3185467 h 3979594"/>
              <a:gd name="connsiteX551" fmla="*/ 1380065 w 2606154"/>
              <a:gd name="connsiteY551" fmla="*/ 3244110 h 3979594"/>
              <a:gd name="connsiteX552" fmla="*/ 1441980 w 2606154"/>
              <a:gd name="connsiteY552" fmla="*/ 3329631 h 3979594"/>
              <a:gd name="connsiteX553" fmla="*/ 1455830 w 2606154"/>
              <a:gd name="connsiteY553" fmla="*/ 3341034 h 3979594"/>
              <a:gd name="connsiteX554" fmla="*/ 1529966 w 2606154"/>
              <a:gd name="connsiteY554" fmla="*/ 3459950 h 3979594"/>
              <a:gd name="connsiteX555" fmla="*/ 1486788 w 2606154"/>
              <a:gd name="connsiteY555" fmla="*/ 3543842 h 3979594"/>
              <a:gd name="connsiteX556" fmla="*/ 1410208 w 2606154"/>
              <a:gd name="connsiteY556" fmla="*/ 3565018 h 3979594"/>
              <a:gd name="connsiteX557" fmla="*/ 1341775 w 2606154"/>
              <a:gd name="connsiteY557" fmla="*/ 3552801 h 3979594"/>
              <a:gd name="connsiteX558" fmla="*/ 1334443 w 2606154"/>
              <a:gd name="connsiteY558" fmla="*/ 3533254 h 3979594"/>
              <a:gd name="connsiteX559" fmla="*/ 1336887 w 2606154"/>
              <a:gd name="connsiteY559" fmla="*/ 3479497 h 3979594"/>
              <a:gd name="connsiteX560" fmla="*/ 1340960 w 2606154"/>
              <a:gd name="connsiteY560" fmla="*/ 3471352 h 3979594"/>
              <a:gd name="connsiteX561" fmla="*/ 1344219 w 2606154"/>
              <a:gd name="connsiteY561" fmla="*/ 3477054 h 3979594"/>
              <a:gd name="connsiteX562" fmla="*/ 1345848 w 2606154"/>
              <a:gd name="connsiteY562" fmla="*/ 3495787 h 3979594"/>
              <a:gd name="connsiteX563" fmla="*/ 1420799 w 2606154"/>
              <a:gd name="connsiteY563" fmla="*/ 3547100 h 3979594"/>
              <a:gd name="connsiteX564" fmla="*/ 1493305 w 2606154"/>
              <a:gd name="connsiteY564" fmla="*/ 3479497 h 3979594"/>
              <a:gd name="connsiteX565" fmla="*/ 1434648 w 2606154"/>
              <a:gd name="connsiteY565" fmla="*/ 3388274 h 3979594"/>
              <a:gd name="connsiteX566" fmla="*/ 1411837 w 2606154"/>
              <a:gd name="connsiteY566" fmla="*/ 3369541 h 3979594"/>
              <a:gd name="connsiteX567" fmla="*/ 1345848 w 2606154"/>
              <a:gd name="connsiteY567" fmla="*/ 3259585 h 3979594"/>
              <a:gd name="connsiteX568" fmla="*/ 1450942 w 2606154"/>
              <a:gd name="connsiteY568" fmla="*/ 3168362 h 3979594"/>
              <a:gd name="connsiteX569" fmla="*/ 1129143 w 2606154"/>
              <a:gd name="connsiteY569" fmla="*/ 3167548 h 3979594"/>
              <a:gd name="connsiteX570" fmla="*/ 1140549 w 2606154"/>
              <a:gd name="connsiteY570" fmla="*/ 3185467 h 3979594"/>
              <a:gd name="connsiteX571" fmla="*/ 1258677 w 2606154"/>
              <a:gd name="connsiteY571" fmla="*/ 3490900 h 3979594"/>
              <a:gd name="connsiteX572" fmla="*/ 1301855 w 2606154"/>
              <a:gd name="connsiteY572" fmla="*/ 3547100 h 3979594"/>
              <a:gd name="connsiteX573" fmla="*/ 1322222 w 2606154"/>
              <a:gd name="connsiteY573" fmla="*/ 3550358 h 3979594"/>
              <a:gd name="connsiteX574" fmla="*/ 1327110 w 2606154"/>
              <a:gd name="connsiteY574" fmla="*/ 3553616 h 3979594"/>
              <a:gd name="connsiteX575" fmla="*/ 1317334 w 2606154"/>
              <a:gd name="connsiteY575" fmla="*/ 3557689 h 3979594"/>
              <a:gd name="connsiteX576" fmla="*/ 1237495 w 2606154"/>
              <a:gd name="connsiteY576" fmla="*/ 3556874 h 3979594"/>
              <a:gd name="connsiteX577" fmla="*/ 1222017 w 2606154"/>
              <a:gd name="connsiteY577" fmla="*/ 3553616 h 3979594"/>
              <a:gd name="connsiteX578" fmla="*/ 1225275 w 2606154"/>
              <a:gd name="connsiteY578" fmla="*/ 3550358 h 3979594"/>
              <a:gd name="connsiteX579" fmla="*/ 1228534 w 2606154"/>
              <a:gd name="connsiteY579" fmla="*/ 3536512 h 3979594"/>
              <a:gd name="connsiteX580" fmla="*/ 1181283 w 2606154"/>
              <a:gd name="connsiteY580" fmla="*/ 3411895 h 3979594"/>
              <a:gd name="connsiteX581" fmla="*/ 1176394 w 2606154"/>
              <a:gd name="connsiteY581" fmla="*/ 3408637 h 3979594"/>
              <a:gd name="connsiteX582" fmla="*/ 1067228 w 2606154"/>
              <a:gd name="connsiteY582" fmla="*/ 3408637 h 3979594"/>
              <a:gd name="connsiteX583" fmla="*/ 1062340 w 2606154"/>
              <a:gd name="connsiteY583" fmla="*/ 3412709 h 3979594"/>
              <a:gd name="connsiteX584" fmla="*/ 1032197 w 2606154"/>
              <a:gd name="connsiteY584" fmla="*/ 3502303 h 3979594"/>
              <a:gd name="connsiteX585" fmla="*/ 1024865 w 2606154"/>
              <a:gd name="connsiteY585" fmla="*/ 3536512 h 3979594"/>
              <a:gd name="connsiteX586" fmla="*/ 1044417 w 2606154"/>
              <a:gd name="connsiteY586" fmla="*/ 3551172 h 3979594"/>
              <a:gd name="connsiteX587" fmla="*/ 1049305 w 2606154"/>
              <a:gd name="connsiteY587" fmla="*/ 3551172 h 3979594"/>
              <a:gd name="connsiteX588" fmla="*/ 1054193 w 2606154"/>
              <a:gd name="connsiteY588" fmla="*/ 3554430 h 3979594"/>
              <a:gd name="connsiteX589" fmla="*/ 1046861 w 2606154"/>
              <a:gd name="connsiteY589" fmla="*/ 3558503 h 3979594"/>
              <a:gd name="connsiteX590" fmla="*/ 1006942 w 2606154"/>
              <a:gd name="connsiteY590" fmla="*/ 3556874 h 3979594"/>
              <a:gd name="connsiteX591" fmla="*/ 949914 w 2606154"/>
              <a:gd name="connsiteY591" fmla="*/ 3558503 h 3979594"/>
              <a:gd name="connsiteX592" fmla="*/ 940138 w 2606154"/>
              <a:gd name="connsiteY592" fmla="*/ 3554430 h 3979594"/>
              <a:gd name="connsiteX593" fmla="*/ 945026 w 2606154"/>
              <a:gd name="connsiteY593" fmla="*/ 3551172 h 3979594"/>
              <a:gd name="connsiteX594" fmla="*/ 959690 w 2606154"/>
              <a:gd name="connsiteY594" fmla="*/ 3550358 h 3979594"/>
              <a:gd name="connsiteX595" fmla="*/ 1002053 w 2606154"/>
              <a:gd name="connsiteY595" fmla="*/ 3503118 h 3979594"/>
              <a:gd name="connsiteX596" fmla="*/ 1117738 w 2606154"/>
              <a:gd name="connsiteY596" fmla="*/ 3187096 h 3979594"/>
              <a:gd name="connsiteX597" fmla="*/ 1129143 w 2606154"/>
              <a:gd name="connsiteY597" fmla="*/ 3167548 h 3979594"/>
              <a:gd name="connsiteX598" fmla="*/ 16294 w 2606154"/>
              <a:gd name="connsiteY598" fmla="*/ 3167548 h 3979594"/>
              <a:gd name="connsiteX599" fmla="*/ 38290 w 2606154"/>
              <a:gd name="connsiteY599" fmla="*/ 3173250 h 3979594"/>
              <a:gd name="connsiteX600" fmla="*/ 78209 w 2606154"/>
              <a:gd name="connsiteY600" fmla="*/ 3175693 h 3979594"/>
              <a:gd name="connsiteX601" fmla="*/ 268029 w 2606154"/>
              <a:gd name="connsiteY601" fmla="*/ 3175693 h 3979594"/>
              <a:gd name="connsiteX602" fmla="*/ 318539 w 2606154"/>
              <a:gd name="connsiteY602" fmla="*/ 3170806 h 3979594"/>
              <a:gd name="connsiteX603" fmla="*/ 320983 w 2606154"/>
              <a:gd name="connsiteY603" fmla="*/ 3176507 h 3979594"/>
              <a:gd name="connsiteX604" fmla="*/ 319354 w 2606154"/>
              <a:gd name="connsiteY604" fmla="*/ 3231893 h 3979594"/>
              <a:gd name="connsiteX605" fmla="*/ 316095 w 2606154"/>
              <a:gd name="connsiteY605" fmla="*/ 3238409 h 3979594"/>
              <a:gd name="connsiteX606" fmla="*/ 312022 w 2606154"/>
              <a:gd name="connsiteY606" fmla="*/ 3229449 h 3979594"/>
              <a:gd name="connsiteX607" fmla="*/ 311207 w 2606154"/>
              <a:gd name="connsiteY607" fmla="*/ 3223748 h 3979594"/>
              <a:gd name="connsiteX608" fmla="*/ 249292 w 2606154"/>
              <a:gd name="connsiteY608" fmla="*/ 3196055 h 3979594"/>
              <a:gd name="connsiteX609" fmla="*/ 185747 w 2606154"/>
              <a:gd name="connsiteY609" fmla="*/ 3195241 h 3979594"/>
              <a:gd name="connsiteX610" fmla="*/ 185747 w 2606154"/>
              <a:gd name="connsiteY610" fmla="*/ 3411895 h 3979594"/>
              <a:gd name="connsiteX611" fmla="*/ 184932 w 2606154"/>
              <a:gd name="connsiteY611" fmla="*/ 3411895 h 3979594"/>
              <a:gd name="connsiteX612" fmla="*/ 187376 w 2606154"/>
              <a:gd name="connsiteY612" fmla="*/ 3521851 h 3979594"/>
              <a:gd name="connsiteX613" fmla="*/ 206928 w 2606154"/>
              <a:gd name="connsiteY613" fmla="*/ 3549544 h 3979594"/>
              <a:gd name="connsiteX614" fmla="*/ 229739 w 2606154"/>
              <a:gd name="connsiteY614" fmla="*/ 3551987 h 3979594"/>
              <a:gd name="connsiteX615" fmla="*/ 233813 w 2606154"/>
              <a:gd name="connsiteY615" fmla="*/ 3555245 h 3979594"/>
              <a:gd name="connsiteX616" fmla="*/ 225666 w 2606154"/>
              <a:gd name="connsiteY616" fmla="*/ 3559317 h 3979594"/>
              <a:gd name="connsiteX617" fmla="*/ 163750 w 2606154"/>
              <a:gd name="connsiteY617" fmla="*/ 3557689 h 3979594"/>
              <a:gd name="connsiteX618" fmla="*/ 114055 w 2606154"/>
              <a:gd name="connsiteY618" fmla="*/ 3559317 h 3979594"/>
              <a:gd name="connsiteX619" fmla="*/ 105908 w 2606154"/>
              <a:gd name="connsiteY619" fmla="*/ 3555245 h 3979594"/>
              <a:gd name="connsiteX620" fmla="*/ 109982 w 2606154"/>
              <a:gd name="connsiteY620" fmla="*/ 3551987 h 3979594"/>
              <a:gd name="connsiteX621" fmla="*/ 125460 w 2606154"/>
              <a:gd name="connsiteY621" fmla="*/ 3549544 h 3979594"/>
              <a:gd name="connsiteX622" fmla="*/ 140125 w 2606154"/>
              <a:gd name="connsiteY622" fmla="*/ 3521851 h 3979594"/>
              <a:gd name="connsiteX623" fmla="*/ 142569 w 2606154"/>
              <a:gd name="connsiteY623" fmla="*/ 3411895 h 3979594"/>
              <a:gd name="connsiteX624" fmla="*/ 142569 w 2606154"/>
              <a:gd name="connsiteY624" fmla="*/ 3197684 h 3979594"/>
              <a:gd name="connsiteX625" fmla="*/ 67618 w 2606154"/>
              <a:gd name="connsiteY625" fmla="*/ 3198498 h 3979594"/>
              <a:gd name="connsiteX626" fmla="*/ 16294 w 2606154"/>
              <a:gd name="connsiteY626" fmla="*/ 3214788 h 3979594"/>
              <a:gd name="connsiteX627" fmla="*/ 7332 w 2606154"/>
              <a:gd name="connsiteY627" fmla="*/ 3230264 h 3979594"/>
              <a:gd name="connsiteX628" fmla="*/ 2444 w 2606154"/>
              <a:gd name="connsiteY628" fmla="*/ 3235151 h 3979594"/>
              <a:gd name="connsiteX629" fmla="*/ 0 w 2606154"/>
              <a:gd name="connsiteY629" fmla="*/ 3230264 h 3979594"/>
              <a:gd name="connsiteX630" fmla="*/ 11406 w 2606154"/>
              <a:gd name="connsiteY630" fmla="*/ 3177322 h 3979594"/>
              <a:gd name="connsiteX631" fmla="*/ 16294 w 2606154"/>
              <a:gd name="connsiteY631" fmla="*/ 3167548 h 3979594"/>
              <a:gd name="connsiteX632" fmla="*/ 1815917 w 2606154"/>
              <a:gd name="connsiteY632" fmla="*/ 2787996 h 3979594"/>
              <a:gd name="connsiteX633" fmla="*/ 1783330 w 2606154"/>
              <a:gd name="connsiteY633" fmla="*/ 2887363 h 3979594"/>
              <a:gd name="connsiteX634" fmla="*/ 1784145 w 2606154"/>
              <a:gd name="connsiteY634" fmla="*/ 2889807 h 3979594"/>
              <a:gd name="connsiteX635" fmla="*/ 1855022 w 2606154"/>
              <a:gd name="connsiteY635" fmla="*/ 2889807 h 3979594"/>
              <a:gd name="connsiteX636" fmla="*/ 1856651 w 2606154"/>
              <a:gd name="connsiteY636" fmla="*/ 2887363 h 3979594"/>
              <a:gd name="connsiteX637" fmla="*/ 1821620 w 2606154"/>
              <a:gd name="connsiteY637" fmla="*/ 2787996 h 3979594"/>
              <a:gd name="connsiteX638" fmla="*/ 1815917 w 2606154"/>
              <a:gd name="connsiteY638" fmla="*/ 2787996 h 3979594"/>
              <a:gd name="connsiteX639" fmla="*/ 2387821 w 2606154"/>
              <a:gd name="connsiteY639" fmla="*/ 2745643 h 3979594"/>
              <a:gd name="connsiteX640" fmla="*/ 2364195 w 2606154"/>
              <a:gd name="connsiteY640" fmla="*/ 2748087 h 3979594"/>
              <a:gd name="connsiteX641" fmla="*/ 2360122 w 2606154"/>
              <a:gd name="connsiteY641" fmla="*/ 2755417 h 3979594"/>
              <a:gd name="connsiteX642" fmla="*/ 2360122 w 2606154"/>
              <a:gd name="connsiteY642" fmla="*/ 2834423 h 3979594"/>
              <a:gd name="connsiteX643" fmla="*/ 2359307 w 2606154"/>
              <a:gd name="connsiteY643" fmla="*/ 2834423 h 3979594"/>
              <a:gd name="connsiteX644" fmla="*/ 2359307 w 2606154"/>
              <a:gd name="connsiteY644" fmla="*/ 2880034 h 3979594"/>
              <a:gd name="connsiteX645" fmla="*/ 2360122 w 2606154"/>
              <a:gd name="connsiteY645" fmla="*/ 2959854 h 3979594"/>
              <a:gd name="connsiteX646" fmla="*/ 2364195 w 2606154"/>
              <a:gd name="connsiteY646" fmla="*/ 2987547 h 3979594"/>
              <a:gd name="connsiteX647" fmla="*/ 2426925 w 2606154"/>
              <a:gd name="connsiteY647" fmla="*/ 3002207 h 3979594"/>
              <a:gd name="connsiteX648" fmla="*/ 2514911 w 2606154"/>
              <a:gd name="connsiteY648" fmla="*/ 2967999 h 3979594"/>
              <a:gd name="connsiteX649" fmla="*/ 2544239 w 2606154"/>
              <a:gd name="connsiteY649" fmla="*/ 2880034 h 3979594"/>
              <a:gd name="connsiteX650" fmla="*/ 2508393 w 2606154"/>
              <a:gd name="connsiteY650" fmla="*/ 2787182 h 3979594"/>
              <a:gd name="connsiteX651" fmla="*/ 2387821 w 2606154"/>
              <a:gd name="connsiteY651" fmla="*/ 2745643 h 3979594"/>
              <a:gd name="connsiteX652" fmla="*/ 154789 w 2606154"/>
              <a:gd name="connsiteY652" fmla="*/ 2740756 h 3979594"/>
              <a:gd name="connsiteX653" fmla="*/ 47251 w 2606154"/>
              <a:gd name="connsiteY653" fmla="*/ 2862115 h 3979594"/>
              <a:gd name="connsiteX654" fmla="*/ 165379 w 2606154"/>
              <a:gd name="connsiteY654" fmla="*/ 3003836 h 3979594"/>
              <a:gd name="connsiteX655" fmla="*/ 267214 w 2606154"/>
              <a:gd name="connsiteY655" fmla="*/ 2876775 h 3979594"/>
              <a:gd name="connsiteX656" fmla="*/ 154789 w 2606154"/>
              <a:gd name="connsiteY656" fmla="*/ 2740756 h 3979594"/>
              <a:gd name="connsiteX657" fmla="*/ 2302280 w 2606154"/>
              <a:gd name="connsiteY657" fmla="*/ 2733426 h 3979594"/>
              <a:gd name="connsiteX658" fmla="*/ 2343828 w 2606154"/>
              <a:gd name="connsiteY658" fmla="*/ 2734240 h 3979594"/>
              <a:gd name="connsiteX659" fmla="*/ 2393524 w 2606154"/>
              <a:gd name="connsiteY659" fmla="*/ 2733426 h 3979594"/>
              <a:gd name="connsiteX660" fmla="*/ 2541795 w 2606154"/>
              <a:gd name="connsiteY660" fmla="*/ 2775779 h 3979594"/>
              <a:gd name="connsiteX661" fmla="*/ 2577641 w 2606154"/>
              <a:gd name="connsiteY661" fmla="*/ 2869445 h 3979594"/>
              <a:gd name="connsiteX662" fmla="*/ 2537722 w 2606154"/>
              <a:gd name="connsiteY662" fmla="*/ 2973700 h 3979594"/>
              <a:gd name="connsiteX663" fmla="*/ 2426111 w 2606154"/>
              <a:gd name="connsiteY663" fmla="*/ 3016054 h 3979594"/>
              <a:gd name="connsiteX664" fmla="*/ 2343828 w 2606154"/>
              <a:gd name="connsiteY664" fmla="*/ 3011981 h 3979594"/>
              <a:gd name="connsiteX665" fmla="*/ 2307983 w 2606154"/>
              <a:gd name="connsiteY665" fmla="*/ 3012796 h 3979594"/>
              <a:gd name="connsiteX666" fmla="*/ 2302280 w 2606154"/>
              <a:gd name="connsiteY666" fmla="*/ 3009538 h 3979594"/>
              <a:gd name="connsiteX667" fmla="*/ 2305539 w 2606154"/>
              <a:gd name="connsiteY667" fmla="*/ 3007094 h 3979594"/>
              <a:gd name="connsiteX668" fmla="*/ 2316944 w 2606154"/>
              <a:gd name="connsiteY668" fmla="*/ 3005465 h 3979594"/>
              <a:gd name="connsiteX669" fmla="*/ 2327535 w 2606154"/>
              <a:gd name="connsiteY669" fmla="*/ 2985103 h 3979594"/>
              <a:gd name="connsiteX670" fmla="*/ 2329164 w 2606154"/>
              <a:gd name="connsiteY670" fmla="*/ 2905283 h 3979594"/>
              <a:gd name="connsiteX671" fmla="*/ 2328350 w 2606154"/>
              <a:gd name="connsiteY671" fmla="*/ 2905283 h 3979594"/>
              <a:gd name="connsiteX672" fmla="*/ 2328350 w 2606154"/>
              <a:gd name="connsiteY672" fmla="*/ 2840938 h 3979594"/>
              <a:gd name="connsiteX673" fmla="*/ 2327535 w 2606154"/>
              <a:gd name="connsiteY673" fmla="*/ 2761119 h 3979594"/>
              <a:gd name="connsiteX674" fmla="*/ 2312056 w 2606154"/>
              <a:gd name="connsiteY674" fmla="*/ 2739942 h 3979594"/>
              <a:gd name="connsiteX675" fmla="*/ 2299836 w 2606154"/>
              <a:gd name="connsiteY675" fmla="*/ 2739127 h 3979594"/>
              <a:gd name="connsiteX676" fmla="*/ 2296577 w 2606154"/>
              <a:gd name="connsiteY676" fmla="*/ 2736684 h 3979594"/>
              <a:gd name="connsiteX677" fmla="*/ 2302280 w 2606154"/>
              <a:gd name="connsiteY677" fmla="*/ 2733426 h 3979594"/>
              <a:gd name="connsiteX678" fmla="*/ 523024 w 2606154"/>
              <a:gd name="connsiteY678" fmla="*/ 2731796 h 3979594"/>
              <a:gd name="connsiteX679" fmla="*/ 562128 w 2606154"/>
              <a:gd name="connsiteY679" fmla="*/ 2732611 h 3979594"/>
              <a:gd name="connsiteX680" fmla="*/ 593086 w 2606154"/>
              <a:gd name="connsiteY680" fmla="*/ 2731796 h 3979594"/>
              <a:gd name="connsiteX681" fmla="*/ 598788 w 2606154"/>
              <a:gd name="connsiteY681" fmla="*/ 2735054 h 3979594"/>
              <a:gd name="connsiteX682" fmla="*/ 595530 w 2606154"/>
              <a:gd name="connsiteY682" fmla="*/ 2737498 h 3979594"/>
              <a:gd name="connsiteX683" fmla="*/ 586568 w 2606154"/>
              <a:gd name="connsiteY683" fmla="*/ 2738312 h 3979594"/>
              <a:gd name="connsiteX684" fmla="*/ 572719 w 2606154"/>
              <a:gd name="connsiteY684" fmla="*/ 2759489 h 3979594"/>
              <a:gd name="connsiteX685" fmla="*/ 571904 w 2606154"/>
              <a:gd name="connsiteY685" fmla="*/ 2839309 h 3979594"/>
              <a:gd name="connsiteX686" fmla="*/ 571904 w 2606154"/>
              <a:gd name="connsiteY686" fmla="*/ 2879219 h 3979594"/>
              <a:gd name="connsiteX687" fmla="*/ 537688 w 2606154"/>
              <a:gd name="connsiteY687" fmla="*/ 2989989 h 3979594"/>
              <a:gd name="connsiteX688" fmla="*/ 461923 w 2606154"/>
              <a:gd name="connsiteY688" fmla="*/ 3017682 h 3979594"/>
              <a:gd name="connsiteX689" fmla="*/ 386158 w 2606154"/>
              <a:gd name="connsiteY689" fmla="*/ 2991618 h 3979594"/>
              <a:gd name="connsiteX690" fmla="*/ 354385 w 2606154"/>
              <a:gd name="connsiteY690" fmla="*/ 2894694 h 3979594"/>
              <a:gd name="connsiteX691" fmla="*/ 354385 w 2606154"/>
              <a:gd name="connsiteY691" fmla="*/ 2840123 h 3979594"/>
              <a:gd name="connsiteX692" fmla="*/ 356829 w 2606154"/>
              <a:gd name="connsiteY692" fmla="*/ 2840123 h 3979594"/>
              <a:gd name="connsiteX693" fmla="*/ 356015 w 2606154"/>
              <a:gd name="connsiteY693" fmla="*/ 2760303 h 3979594"/>
              <a:gd name="connsiteX694" fmla="*/ 339721 w 2606154"/>
              <a:gd name="connsiteY694" fmla="*/ 2739126 h 3979594"/>
              <a:gd name="connsiteX695" fmla="*/ 327501 w 2606154"/>
              <a:gd name="connsiteY695" fmla="*/ 2738312 h 3979594"/>
              <a:gd name="connsiteX696" fmla="*/ 324242 w 2606154"/>
              <a:gd name="connsiteY696" fmla="*/ 2735868 h 3979594"/>
              <a:gd name="connsiteX697" fmla="*/ 329945 w 2606154"/>
              <a:gd name="connsiteY697" fmla="*/ 2732611 h 3979594"/>
              <a:gd name="connsiteX698" fmla="*/ 372308 w 2606154"/>
              <a:gd name="connsiteY698" fmla="*/ 2733425 h 3979594"/>
              <a:gd name="connsiteX699" fmla="*/ 408969 w 2606154"/>
              <a:gd name="connsiteY699" fmla="*/ 2732611 h 3979594"/>
              <a:gd name="connsiteX700" fmla="*/ 414671 w 2606154"/>
              <a:gd name="connsiteY700" fmla="*/ 2735868 h 3979594"/>
              <a:gd name="connsiteX701" fmla="*/ 411413 w 2606154"/>
              <a:gd name="connsiteY701" fmla="*/ 2738312 h 3979594"/>
              <a:gd name="connsiteX702" fmla="*/ 402451 w 2606154"/>
              <a:gd name="connsiteY702" fmla="*/ 2739126 h 3979594"/>
              <a:gd name="connsiteX703" fmla="*/ 388602 w 2606154"/>
              <a:gd name="connsiteY703" fmla="*/ 2760303 h 3979594"/>
              <a:gd name="connsiteX704" fmla="*/ 387787 w 2606154"/>
              <a:gd name="connsiteY704" fmla="*/ 2840123 h 3979594"/>
              <a:gd name="connsiteX705" fmla="*/ 387787 w 2606154"/>
              <a:gd name="connsiteY705" fmla="*/ 2891436 h 3979594"/>
              <a:gd name="connsiteX706" fmla="*/ 415486 w 2606154"/>
              <a:gd name="connsiteY706" fmla="*/ 2982659 h 3979594"/>
              <a:gd name="connsiteX707" fmla="*/ 470884 w 2606154"/>
              <a:gd name="connsiteY707" fmla="*/ 3003021 h 3979594"/>
              <a:gd name="connsiteX708" fmla="*/ 528726 w 2606154"/>
              <a:gd name="connsiteY708" fmla="*/ 2976143 h 3979594"/>
              <a:gd name="connsiteX709" fmla="*/ 549908 w 2606154"/>
              <a:gd name="connsiteY709" fmla="*/ 2885734 h 3979594"/>
              <a:gd name="connsiteX710" fmla="*/ 549908 w 2606154"/>
              <a:gd name="connsiteY710" fmla="*/ 2839309 h 3979594"/>
              <a:gd name="connsiteX711" fmla="*/ 549093 w 2606154"/>
              <a:gd name="connsiteY711" fmla="*/ 2759489 h 3979594"/>
              <a:gd name="connsiteX712" fmla="*/ 532800 w 2606154"/>
              <a:gd name="connsiteY712" fmla="*/ 2738312 h 3979594"/>
              <a:gd name="connsiteX713" fmla="*/ 520579 w 2606154"/>
              <a:gd name="connsiteY713" fmla="*/ 2737498 h 3979594"/>
              <a:gd name="connsiteX714" fmla="*/ 517321 w 2606154"/>
              <a:gd name="connsiteY714" fmla="*/ 2735054 h 3979594"/>
              <a:gd name="connsiteX715" fmla="*/ 523024 w 2606154"/>
              <a:gd name="connsiteY715" fmla="*/ 2731796 h 3979594"/>
              <a:gd name="connsiteX716" fmla="*/ 1512857 w 2606154"/>
              <a:gd name="connsiteY716" fmla="*/ 2730982 h 3979594"/>
              <a:gd name="connsiteX717" fmla="*/ 1554405 w 2606154"/>
              <a:gd name="connsiteY717" fmla="*/ 2731797 h 3979594"/>
              <a:gd name="connsiteX718" fmla="*/ 1594325 w 2606154"/>
              <a:gd name="connsiteY718" fmla="*/ 2730982 h 3979594"/>
              <a:gd name="connsiteX719" fmla="*/ 1600027 w 2606154"/>
              <a:gd name="connsiteY719" fmla="*/ 2734240 h 3979594"/>
              <a:gd name="connsiteX720" fmla="*/ 1596769 w 2606154"/>
              <a:gd name="connsiteY720" fmla="*/ 2736684 h 3979594"/>
              <a:gd name="connsiteX721" fmla="*/ 1584548 w 2606154"/>
              <a:gd name="connsiteY721" fmla="*/ 2737498 h 3979594"/>
              <a:gd name="connsiteX722" fmla="*/ 1569884 w 2606154"/>
              <a:gd name="connsiteY722" fmla="*/ 2758675 h 3979594"/>
              <a:gd name="connsiteX723" fmla="*/ 1569070 w 2606154"/>
              <a:gd name="connsiteY723" fmla="*/ 2838495 h 3979594"/>
              <a:gd name="connsiteX724" fmla="*/ 1569070 w 2606154"/>
              <a:gd name="connsiteY724" fmla="*/ 2906097 h 3979594"/>
              <a:gd name="connsiteX725" fmla="*/ 1569884 w 2606154"/>
              <a:gd name="connsiteY725" fmla="*/ 2906097 h 3979594"/>
              <a:gd name="connsiteX726" fmla="*/ 1578031 w 2606154"/>
              <a:gd name="connsiteY726" fmla="*/ 2990804 h 3979594"/>
              <a:gd name="connsiteX727" fmla="*/ 1622024 w 2606154"/>
              <a:gd name="connsiteY727" fmla="*/ 2998949 h 3979594"/>
              <a:gd name="connsiteX728" fmla="*/ 1666831 w 2606154"/>
              <a:gd name="connsiteY728" fmla="*/ 2987546 h 3979594"/>
              <a:gd name="connsiteX729" fmla="*/ 1676607 w 2606154"/>
              <a:gd name="connsiteY729" fmla="*/ 2965555 h 3979594"/>
              <a:gd name="connsiteX730" fmla="*/ 1679866 w 2606154"/>
              <a:gd name="connsiteY730" fmla="*/ 2960668 h 3979594"/>
              <a:gd name="connsiteX731" fmla="*/ 1682310 w 2606154"/>
              <a:gd name="connsiteY731" fmla="*/ 2966369 h 3979594"/>
              <a:gd name="connsiteX732" fmla="*/ 1676607 w 2606154"/>
              <a:gd name="connsiteY732" fmla="*/ 3003021 h 3979594"/>
              <a:gd name="connsiteX733" fmla="*/ 1652981 w 2606154"/>
              <a:gd name="connsiteY733" fmla="*/ 3012795 h 3979594"/>
              <a:gd name="connsiteX734" fmla="*/ 1553591 w 2606154"/>
              <a:gd name="connsiteY734" fmla="*/ 3010352 h 3979594"/>
              <a:gd name="connsiteX735" fmla="*/ 1517745 w 2606154"/>
              <a:gd name="connsiteY735" fmla="*/ 3011166 h 3979594"/>
              <a:gd name="connsiteX736" fmla="*/ 1512042 w 2606154"/>
              <a:gd name="connsiteY736" fmla="*/ 3007909 h 3979594"/>
              <a:gd name="connsiteX737" fmla="*/ 1515301 w 2606154"/>
              <a:gd name="connsiteY737" fmla="*/ 3005465 h 3979594"/>
              <a:gd name="connsiteX738" fmla="*/ 1526706 w 2606154"/>
              <a:gd name="connsiteY738" fmla="*/ 3003836 h 3979594"/>
              <a:gd name="connsiteX739" fmla="*/ 1537297 w 2606154"/>
              <a:gd name="connsiteY739" fmla="*/ 2983474 h 3979594"/>
              <a:gd name="connsiteX740" fmla="*/ 1538926 w 2606154"/>
              <a:gd name="connsiteY740" fmla="*/ 2903654 h 3979594"/>
              <a:gd name="connsiteX741" fmla="*/ 1538926 w 2606154"/>
              <a:gd name="connsiteY741" fmla="*/ 2838495 h 3979594"/>
              <a:gd name="connsiteX742" fmla="*/ 1538112 w 2606154"/>
              <a:gd name="connsiteY742" fmla="*/ 2758675 h 3979594"/>
              <a:gd name="connsiteX743" fmla="*/ 1522633 w 2606154"/>
              <a:gd name="connsiteY743" fmla="*/ 2737498 h 3979594"/>
              <a:gd name="connsiteX744" fmla="*/ 1510413 w 2606154"/>
              <a:gd name="connsiteY744" fmla="*/ 2736684 h 3979594"/>
              <a:gd name="connsiteX745" fmla="*/ 1507154 w 2606154"/>
              <a:gd name="connsiteY745" fmla="*/ 2734240 h 3979594"/>
              <a:gd name="connsiteX746" fmla="*/ 1512857 w 2606154"/>
              <a:gd name="connsiteY746" fmla="*/ 2730982 h 3979594"/>
              <a:gd name="connsiteX747" fmla="*/ 978428 w 2606154"/>
              <a:gd name="connsiteY747" fmla="*/ 2730167 h 3979594"/>
              <a:gd name="connsiteX748" fmla="*/ 980058 w 2606154"/>
              <a:gd name="connsiteY748" fmla="*/ 2733425 h 3979594"/>
              <a:gd name="connsiteX749" fmla="*/ 976799 w 2606154"/>
              <a:gd name="connsiteY749" fmla="*/ 2750529 h 3979594"/>
              <a:gd name="connsiteX750" fmla="*/ 975170 w 2606154"/>
              <a:gd name="connsiteY750" fmla="*/ 2774964 h 3979594"/>
              <a:gd name="connsiteX751" fmla="*/ 972726 w 2606154"/>
              <a:gd name="connsiteY751" fmla="*/ 2779036 h 3979594"/>
              <a:gd name="connsiteX752" fmla="*/ 969467 w 2606154"/>
              <a:gd name="connsiteY752" fmla="*/ 2774150 h 3979594"/>
              <a:gd name="connsiteX753" fmla="*/ 967023 w 2606154"/>
              <a:gd name="connsiteY753" fmla="*/ 2761118 h 3979594"/>
              <a:gd name="connsiteX754" fmla="*/ 940953 w 2606154"/>
              <a:gd name="connsiteY754" fmla="*/ 2748900 h 3979594"/>
              <a:gd name="connsiteX755" fmla="*/ 890443 w 2606154"/>
              <a:gd name="connsiteY755" fmla="*/ 2748086 h 3979594"/>
              <a:gd name="connsiteX756" fmla="*/ 887999 w 2606154"/>
              <a:gd name="connsiteY756" fmla="*/ 2752158 h 3979594"/>
              <a:gd name="connsiteX757" fmla="*/ 887999 w 2606154"/>
              <a:gd name="connsiteY757" fmla="*/ 2853969 h 3979594"/>
              <a:gd name="connsiteX758" fmla="*/ 890443 w 2606154"/>
              <a:gd name="connsiteY758" fmla="*/ 2858042 h 3979594"/>
              <a:gd name="connsiteX759" fmla="*/ 949100 w 2606154"/>
              <a:gd name="connsiteY759" fmla="*/ 2857227 h 3979594"/>
              <a:gd name="connsiteX760" fmla="*/ 966208 w 2606154"/>
              <a:gd name="connsiteY760" fmla="*/ 2852340 h 3979594"/>
              <a:gd name="connsiteX761" fmla="*/ 971911 w 2606154"/>
              <a:gd name="connsiteY761" fmla="*/ 2847454 h 3979594"/>
              <a:gd name="connsiteX762" fmla="*/ 973540 w 2606154"/>
              <a:gd name="connsiteY762" fmla="*/ 2850712 h 3979594"/>
              <a:gd name="connsiteX763" fmla="*/ 970282 w 2606154"/>
              <a:gd name="connsiteY763" fmla="*/ 2871074 h 3979594"/>
              <a:gd name="connsiteX764" fmla="*/ 968652 w 2606154"/>
              <a:gd name="connsiteY764" fmla="*/ 2894694 h 3979594"/>
              <a:gd name="connsiteX765" fmla="*/ 966208 w 2606154"/>
              <a:gd name="connsiteY765" fmla="*/ 2902025 h 3979594"/>
              <a:gd name="connsiteX766" fmla="*/ 963764 w 2606154"/>
              <a:gd name="connsiteY766" fmla="*/ 2898766 h 3979594"/>
              <a:gd name="connsiteX767" fmla="*/ 962135 w 2606154"/>
              <a:gd name="connsiteY767" fmla="*/ 2886549 h 3979594"/>
              <a:gd name="connsiteX768" fmla="*/ 942583 w 2606154"/>
              <a:gd name="connsiteY768" fmla="*/ 2873517 h 3979594"/>
              <a:gd name="connsiteX769" fmla="*/ 889629 w 2606154"/>
              <a:gd name="connsiteY769" fmla="*/ 2871888 h 3979594"/>
              <a:gd name="connsiteX770" fmla="*/ 887185 w 2606154"/>
              <a:gd name="connsiteY770" fmla="*/ 2874332 h 3979594"/>
              <a:gd name="connsiteX771" fmla="*/ 887185 w 2606154"/>
              <a:gd name="connsiteY771" fmla="*/ 2906911 h 3979594"/>
              <a:gd name="connsiteX772" fmla="*/ 887185 w 2606154"/>
              <a:gd name="connsiteY772" fmla="*/ 2970441 h 3979594"/>
              <a:gd name="connsiteX773" fmla="*/ 930363 w 2606154"/>
              <a:gd name="connsiteY773" fmla="*/ 3000578 h 3979594"/>
              <a:gd name="connsiteX774" fmla="*/ 966208 w 2606154"/>
              <a:gd name="connsiteY774" fmla="*/ 2996505 h 3979594"/>
              <a:gd name="connsiteX775" fmla="*/ 982502 w 2606154"/>
              <a:gd name="connsiteY775" fmla="*/ 2969627 h 3979594"/>
              <a:gd name="connsiteX776" fmla="*/ 985761 w 2606154"/>
              <a:gd name="connsiteY776" fmla="*/ 2963926 h 3979594"/>
              <a:gd name="connsiteX777" fmla="*/ 988205 w 2606154"/>
              <a:gd name="connsiteY777" fmla="*/ 2969627 h 3979594"/>
              <a:gd name="connsiteX778" fmla="*/ 983317 w 2606154"/>
              <a:gd name="connsiteY778" fmla="*/ 3005464 h 3979594"/>
              <a:gd name="connsiteX779" fmla="*/ 962950 w 2606154"/>
              <a:gd name="connsiteY779" fmla="*/ 3015238 h 3979594"/>
              <a:gd name="connsiteX780" fmla="*/ 871706 w 2606154"/>
              <a:gd name="connsiteY780" fmla="*/ 3012795 h 3979594"/>
              <a:gd name="connsiteX781" fmla="*/ 835860 w 2606154"/>
              <a:gd name="connsiteY781" fmla="*/ 3013609 h 3979594"/>
              <a:gd name="connsiteX782" fmla="*/ 830157 w 2606154"/>
              <a:gd name="connsiteY782" fmla="*/ 3010352 h 3979594"/>
              <a:gd name="connsiteX783" fmla="*/ 833416 w 2606154"/>
              <a:gd name="connsiteY783" fmla="*/ 3007908 h 3979594"/>
              <a:gd name="connsiteX784" fmla="*/ 844821 w 2606154"/>
              <a:gd name="connsiteY784" fmla="*/ 3006279 h 3979594"/>
              <a:gd name="connsiteX785" fmla="*/ 855412 w 2606154"/>
              <a:gd name="connsiteY785" fmla="*/ 2985917 h 3979594"/>
              <a:gd name="connsiteX786" fmla="*/ 857042 w 2606154"/>
              <a:gd name="connsiteY786" fmla="*/ 2906097 h 3979594"/>
              <a:gd name="connsiteX787" fmla="*/ 857042 w 2606154"/>
              <a:gd name="connsiteY787" fmla="*/ 2840123 h 3979594"/>
              <a:gd name="connsiteX788" fmla="*/ 856227 w 2606154"/>
              <a:gd name="connsiteY788" fmla="*/ 2760303 h 3979594"/>
              <a:gd name="connsiteX789" fmla="*/ 840748 w 2606154"/>
              <a:gd name="connsiteY789" fmla="*/ 2739126 h 3979594"/>
              <a:gd name="connsiteX790" fmla="*/ 828528 w 2606154"/>
              <a:gd name="connsiteY790" fmla="*/ 2738312 h 3979594"/>
              <a:gd name="connsiteX791" fmla="*/ 825269 w 2606154"/>
              <a:gd name="connsiteY791" fmla="*/ 2735869 h 3979594"/>
              <a:gd name="connsiteX792" fmla="*/ 830972 w 2606154"/>
              <a:gd name="connsiteY792" fmla="*/ 2732611 h 3979594"/>
              <a:gd name="connsiteX793" fmla="*/ 872520 w 2606154"/>
              <a:gd name="connsiteY793" fmla="*/ 2733425 h 3979594"/>
              <a:gd name="connsiteX794" fmla="*/ 957247 w 2606154"/>
              <a:gd name="connsiteY794" fmla="*/ 2733425 h 3979594"/>
              <a:gd name="connsiteX795" fmla="*/ 973540 w 2606154"/>
              <a:gd name="connsiteY795" fmla="*/ 2731796 h 3979594"/>
              <a:gd name="connsiteX796" fmla="*/ 978428 w 2606154"/>
              <a:gd name="connsiteY796" fmla="*/ 2730167 h 3979594"/>
              <a:gd name="connsiteX797" fmla="*/ 773130 w 2606154"/>
              <a:gd name="connsiteY797" fmla="*/ 2730167 h 3979594"/>
              <a:gd name="connsiteX798" fmla="*/ 774759 w 2606154"/>
              <a:gd name="connsiteY798" fmla="*/ 2733425 h 3979594"/>
              <a:gd name="connsiteX799" fmla="*/ 771500 w 2606154"/>
              <a:gd name="connsiteY799" fmla="*/ 2750529 h 3979594"/>
              <a:gd name="connsiteX800" fmla="*/ 769871 w 2606154"/>
              <a:gd name="connsiteY800" fmla="*/ 2774964 h 3979594"/>
              <a:gd name="connsiteX801" fmla="*/ 767427 w 2606154"/>
              <a:gd name="connsiteY801" fmla="*/ 2779036 h 3979594"/>
              <a:gd name="connsiteX802" fmla="*/ 764168 w 2606154"/>
              <a:gd name="connsiteY802" fmla="*/ 2774150 h 3979594"/>
              <a:gd name="connsiteX803" fmla="*/ 761724 w 2606154"/>
              <a:gd name="connsiteY803" fmla="*/ 2761118 h 3979594"/>
              <a:gd name="connsiteX804" fmla="*/ 735655 w 2606154"/>
              <a:gd name="connsiteY804" fmla="*/ 2748900 h 3979594"/>
              <a:gd name="connsiteX805" fmla="*/ 685145 w 2606154"/>
              <a:gd name="connsiteY805" fmla="*/ 2748086 h 3979594"/>
              <a:gd name="connsiteX806" fmla="*/ 682700 w 2606154"/>
              <a:gd name="connsiteY806" fmla="*/ 2752158 h 3979594"/>
              <a:gd name="connsiteX807" fmla="*/ 682700 w 2606154"/>
              <a:gd name="connsiteY807" fmla="*/ 2853969 h 3979594"/>
              <a:gd name="connsiteX808" fmla="*/ 685145 w 2606154"/>
              <a:gd name="connsiteY808" fmla="*/ 2858042 h 3979594"/>
              <a:gd name="connsiteX809" fmla="*/ 743801 w 2606154"/>
              <a:gd name="connsiteY809" fmla="*/ 2857227 h 3979594"/>
              <a:gd name="connsiteX810" fmla="*/ 760910 w 2606154"/>
              <a:gd name="connsiteY810" fmla="*/ 2852340 h 3979594"/>
              <a:gd name="connsiteX811" fmla="*/ 766612 w 2606154"/>
              <a:gd name="connsiteY811" fmla="*/ 2847454 h 3979594"/>
              <a:gd name="connsiteX812" fmla="*/ 768242 w 2606154"/>
              <a:gd name="connsiteY812" fmla="*/ 2850712 h 3979594"/>
              <a:gd name="connsiteX813" fmla="*/ 764983 w 2606154"/>
              <a:gd name="connsiteY813" fmla="*/ 2871074 h 3979594"/>
              <a:gd name="connsiteX814" fmla="*/ 763354 w 2606154"/>
              <a:gd name="connsiteY814" fmla="*/ 2894694 h 3979594"/>
              <a:gd name="connsiteX815" fmla="*/ 760910 w 2606154"/>
              <a:gd name="connsiteY815" fmla="*/ 2902025 h 3979594"/>
              <a:gd name="connsiteX816" fmla="*/ 758466 w 2606154"/>
              <a:gd name="connsiteY816" fmla="*/ 2898766 h 3979594"/>
              <a:gd name="connsiteX817" fmla="*/ 756836 w 2606154"/>
              <a:gd name="connsiteY817" fmla="*/ 2886549 h 3979594"/>
              <a:gd name="connsiteX818" fmla="*/ 737284 w 2606154"/>
              <a:gd name="connsiteY818" fmla="*/ 2873517 h 3979594"/>
              <a:gd name="connsiteX819" fmla="*/ 684330 w 2606154"/>
              <a:gd name="connsiteY819" fmla="*/ 2871888 h 3979594"/>
              <a:gd name="connsiteX820" fmla="*/ 681886 w 2606154"/>
              <a:gd name="connsiteY820" fmla="*/ 2874332 h 3979594"/>
              <a:gd name="connsiteX821" fmla="*/ 681886 w 2606154"/>
              <a:gd name="connsiteY821" fmla="*/ 2906911 h 3979594"/>
              <a:gd name="connsiteX822" fmla="*/ 681886 w 2606154"/>
              <a:gd name="connsiteY822" fmla="*/ 2970441 h 3979594"/>
              <a:gd name="connsiteX823" fmla="*/ 725064 w 2606154"/>
              <a:gd name="connsiteY823" fmla="*/ 3000578 h 3979594"/>
              <a:gd name="connsiteX824" fmla="*/ 760095 w 2606154"/>
              <a:gd name="connsiteY824" fmla="*/ 2996505 h 3979594"/>
              <a:gd name="connsiteX825" fmla="*/ 776388 w 2606154"/>
              <a:gd name="connsiteY825" fmla="*/ 2969627 h 3979594"/>
              <a:gd name="connsiteX826" fmla="*/ 779647 w 2606154"/>
              <a:gd name="connsiteY826" fmla="*/ 2963926 h 3979594"/>
              <a:gd name="connsiteX827" fmla="*/ 782091 w 2606154"/>
              <a:gd name="connsiteY827" fmla="*/ 2969627 h 3979594"/>
              <a:gd name="connsiteX828" fmla="*/ 777203 w 2606154"/>
              <a:gd name="connsiteY828" fmla="*/ 3005464 h 3979594"/>
              <a:gd name="connsiteX829" fmla="*/ 757651 w 2606154"/>
              <a:gd name="connsiteY829" fmla="*/ 3015238 h 3979594"/>
              <a:gd name="connsiteX830" fmla="*/ 666407 w 2606154"/>
              <a:gd name="connsiteY830" fmla="*/ 3012795 h 3979594"/>
              <a:gd name="connsiteX831" fmla="*/ 630561 w 2606154"/>
              <a:gd name="connsiteY831" fmla="*/ 3013609 h 3979594"/>
              <a:gd name="connsiteX832" fmla="*/ 624858 w 2606154"/>
              <a:gd name="connsiteY832" fmla="*/ 3010352 h 3979594"/>
              <a:gd name="connsiteX833" fmla="*/ 628117 w 2606154"/>
              <a:gd name="connsiteY833" fmla="*/ 3007908 h 3979594"/>
              <a:gd name="connsiteX834" fmla="*/ 639522 w 2606154"/>
              <a:gd name="connsiteY834" fmla="*/ 3006279 h 3979594"/>
              <a:gd name="connsiteX835" fmla="*/ 650113 w 2606154"/>
              <a:gd name="connsiteY835" fmla="*/ 2985917 h 3979594"/>
              <a:gd name="connsiteX836" fmla="*/ 651743 w 2606154"/>
              <a:gd name="connsiteY836" fmla="*/ 2906097 h 3979594"/>
              <a:gd name="connsiteX837" fmla="*/ 651743 w 2606154"/>
              <a:gd name="connsiteY837" fmla="*/ 2840123 h 3979594"/>
              <a:gd name="connsiteX838" fmla="*/ 652557 w 2606154"/>
              <a:gd name="connsiteY838" fmla="*/ 2840123 h 3979594"/>
              <a:gd name="connsiteX839" fmla="*/ 651743 w 2606154"/>
              <a:gd name="connsiteY839" fmla="*/ 2760303 h 3979594"/>
              <a:gd name="connsiteX840" fmla="*/ 636264 w 2606154"/>
              <a:gd name="connsiteY840" fmla="*/ 2739126 h 3979594"/>
              <a:gd name="connsiteX841" fmla="*/ 624044 w 2606154"/>
              <a:gd name="connsiteY841" fmla="*/ 2738312 h 3979594"/>
              <a:gd name="connsiteX842" fmla="*/ 620785 w 2606154"/>
              <a:gd name="connsiteY842" fmla="*/ 2735869 h 3979594"/>
              <a:gd name="connsiteX843" fmla="*/ 626488 w 2606154"/>
              <a:gd name="connsiteY843" fmla="*/ 2732611 h 3979594"/>
              <a:gd name="connsiteX844" fmla="*/ 668036 w 2606154"/>
              <a:gd name="connsiteY844" fmla="*/ 2733425 h 3979594"/>
              <a:gd name="connsiteX845" fmla="*/ 752763 w 2606154"/>
              <a:gd name="connsiteY845" fmla="*/ 2733425 h 3979594"/>
              <a:gd name="connsiteX846" fmla="*/ 768242 w 2606154"/>
              <a:gd name="connsiteY846" fmla="*/ 2731796 h 3979594"/>
              <a:gd name="connsiteX847" fmla="*/ 773130 w 2606154"/>
              <a:gd name="connsiteY847" fmla="*/ 2730167 h 3979594"/>
              <a:gd name="connsiteX848" fmla="*/ 1824064 w 2606154"/>
              <a:gd name="connsiteY848" fmla="*/ 2728538 h 3979594"/>
              <a:gd name="connsiteX849" fmla="*/ 1832211 w 2606154"/>
              <a:gd name="connsiteY849" fmla="*/ 2741570 h 3979594"/>
              <a:gd name="connsiteX850" fmla="*/ 1918567 w 2606154"/>
              <a:gd name="connsiteY850" fmla="*/ 2963925 h 3979594"/>
              <a:gd name="connsiteX851" fmla="*/ 1950339 w 2606154"/>
              <a:gd name="connsiteY851" fmla="*/ 3004650 h 3979594"/>
              <a:gd name="connsiteX852" fmla="*/ 1965003 w 2606154"/>
              <a:gd name="connsiteY852" fmla="*/ 3007093 h 3979594"/>
              <a:gd name="connsiteX853" fmla="*/ 1968262 w 2606154"/>
              <a:gd name="connsiteY853" fmla="*/ 3009537 h 3979594"/>
              <a:gd name="connsiteX854" fmla="*/ 1960930 w 2606154"/>
              <a:gd name="connsiteY854" fmla="*/ 3012795 h 3979594"/>
              <a:gd name="connsiteX855" fmla="*/ 1903088 w 2606154"/>
              <a:gd name="connsiteY855" fmla="*/ 3011980 h 3979594"/>
              <a:gd name="connsiteX856" fmla="*/ 1891682 w 2606154"/>
              <a:gd name="connsiteY856" fmla="*/ 3009537 h 3979594"/>
              <a:gd name="connsiteX857" fmla="*/ 1894126 w 2606154"/>
              <a:gd name="connsiteY857" fmla="*/ 3007093 h 3979594"/>
              <a:gd name="connsiteX858" fmla="*/ 1896570 w 2606154"/>
              <a:gd name="connsiteY858" fmla="*/ 2997319 h 3979594"/>
              <a:gd name="connsiteX859" fmla="*/ 1862354 w 2606154"/>
              <a:gd name="connsiteY859" fmla="*/ 2906097 h 3979594"/>
              <a:gd name="connsiteX860" fmla="*/ 1859095 w 2606154"/>
              <a:gd name="connsiteY860" fmla="*/ 2903653 h 3979594"/>
              <a:gd name="connsiteX861" fmla="*/ 1779257 w 2606154"/>
              <a:gd name="connsiteY861" fmla="*/ 2903653 h 3979594"/>
              <a:gd name="connsiteX862" fmla="*/ 1775183 w 2606154"/>
              <a:gd name="connsiteY862" fmla="*/ 2906911 h 3979594"/>
              <a:gd name="connsiteX863" fmla="*/ 1753187 w 2606154"/>
              <a:gd name="connsiteY863" fmla="*/ 2972070 h 3979594"/>
              <a:gd name="connsiteX864" fmla="*/ 1748299 w 2606154"/>
              <a:gd name="connsiteY864" fmla="*/ 2996505 h 3979594"/>
              <a:gd name="connsiteX865" fmla="*/ 1762148 w 2606154"/>
              <a:gd name="connsiteY865" fmla="*/ 3007093 h 3979594"/>
              <a:gd name="connsiteX866" fmla="*/ 1766222 w 2606154"/>
              <a:gd name="connsiteY866" fmla="*/ 3007093 h 3979594"/>
              <a:gd name="connsiteX867" fmla="*/ 1770295 w 2606154"/>
              <a:gd name="connsiteY867" fmla="*/ 3009537 h 3979594"/>
              <a:gd name="connsiteX868" fmla="*/ 1764592 w 2606154"/>
              <a:gd name="connsiteY868" fmla="*/ 3012795 h 3979594"/>
              <a:gd name="connsiteX869" fmla="*/ 1736079 w 2606154"/>
              <a:gd name="connsiteY869" fmla="*/ 3011980 h 3979594"/>
              <a:gd name="connsiteX870" fmla="*/ 1694530 w 2606154"/>
              <a:gd name="connsiteY870" fmla="*/ 3012795 h 3979594"/>
              <a:gd name="connsiteX871" fmla="*/ 1687198 w 2606154"/>
              <a:gd name="connsiteY871" fmla="*/ 3009537 h 3979594"/>
              <a:gd name="connsiteX872" fmla="*/ 1690457 w 2606154"/>
              <a:gd name="connsiteY872" fmla="*/ 3007093 h 3979594"/>
              <a:gd name="connsiteX873" fmla="*/ 1701048 w 2606154"/>
              <a:gd name="connsiteY873" fmla="*/ 3006279 h 3979594"/>
              <a:gd name="connsiteX874" fmla="*/ 1732005 w 2606154"/>
              <a:gd name="connsiteY874" fmla="*/ 2971256 h 3979594"/>
              <a:gd name="connsiteX875" fmla="*/ 1815917 w 2606154"/>
              <a:gd name="connsiteY875" fmla="*/ 2743199 h 3979594"/>
              <a:gd name="connsiteX876" fmla="*/ 1824064 w 2606154"/>
              <a:gd name="connsiteY876" fmla="*/ 2728538 h 3979594"/>
              <a:gd name="connsiteX877" fmla="*/ 2006552 w 2606154"/>
              <a:gd name="connsiteY877" fmla="*/ 2727724 h 3979594"/>
              <a:gd name="connsiteX878" fmla="*/ 2019586 w 2606154"/>
              <a:gd name="connsiteY878" fmla="*/ 2739941 h 3979594"/>
              <a:gd name="connsiteX879" fmla="*/ 2136900 w 2606154"/>
              <a:gd name="connsiteY879" fmla="*/ 2867002 h 3979594"/>
              <a:gd name="connsiteX880" fmla="*/ 2225700 w 2606154"/>
              <a:gd name="connsiteY880" fmla="*/ 2963112 h 3979594"/>
              <a:gd name="connsiteX881" fmla="*/ 2221627 w 2606154"/>
              <a:gd name="connsiteY881" fmla="*/ 2775779 h 3979594"/>
              <a:gd name="connsiteX882" fmla="*/ 2206962 w 2606154"/>
              <a:gd name="connsiteY882" fmla="*/ 2740756 h 3979594"/>
              <a:gd name="connsiteX883" fmla="*/ 2189039 w 2606154"/>
              <a:gd name="connsiteY883" fmla="*/ 2739127 h 3979594"/>
              <a:gd name="connsiteX884" fmla="*/ 2185781 w 2606154"/>
              <a:gd name="connsiteY884" fmla="*/ 2736683 h 3979594"/>
              <a:gd name="connsiteX885" fmla="*/ 2193113 w 2606154"/>
              <a:gd name="connsiteY885" fmla="*/ 2734240 h 3979594"/>
              <a:gd name="connsiteX886" fmla="*/ 2231403 w 2606154"/>
              <a:gd name="connsiteY886" fmla="*/ 2735054 h 3979594"/>
              <a:gd name="connsiteX887" fmla="*/ 2263175 w 2606154"/>
              <a:gd name="connsiteY887" fmla="*/ 2734240 h 3979594"/>
              <a:gd name="connsiteX888" fmla="*/ 2269692 w 2606154"/>
              <a:gd name="connsiteY888" fmla="*/ 2736683 h 3979594"/>
              <a:gd name="connsiteX889" fmla="*/ 2265619 w 2606154"/>
              <a:gd name="connsiteY889" fmla="*/ 2739127 h 3979594"/>
              <a:gd name="connsiteX890" fmla="*/ 2256658 w 2606154"/>
              <a:gd name="connsiteY890" fmla="*/ 2739941 h 3979594"/>
              <a:gd name="connsiteX891" fmla="*/ 2242808 w 2606154"/>
              <a:gd name="connsiteY891" fmla="*/ 2772521 h 3979594"/>
              <a:gd name="connsiteX892" fmla="*/ 2241993 w 2606154"/>
              <a:gd name="connsiteY892" fmla="*/ 2989175 h 3979594"/>
              <a:gd name="connsiteX893" fmla="*/ 2238735 w 2606154"/>
              <a:gd name="connsiteY893" fmla="*/ 3015239 h 3979594"/>
              <a:gd name="connsiteX894" fmla="*/ 2211850 w 2606154"/>
              <a:gd name="connsiteY894" fmla="*/ 2991619 h 3979594"/>
              <a:gd name="connsiteX895" fmla="*/ 2115718 w 2606154"/>
              <a:gd name="connsiteY895" fmla="*/ 2891436 h 3979594"/>
              <a:gd name="connsiteX896" fmla="*/ 2019586 w 2606154"/>
              <a:gd name="connsiteY896" fmla="*/ 2785553 h 3979594"/>
              <a:gd name="connsiteX897" fmla="*/ 2022030 w 2606154"/>
              <a:gd name="connsiteY897" fmla="*/ 2962297 h 3979594"/>
              <a:gd name="connsiteX898" fmla="*/ 2036695 w 2606154"/>
              <a:gd name="connsiteY898" fmla="*/ 3005465 h 3979594"/>
              <a:gd name="connsiteX899" fmla="*/ 2055432 w 2606154"/>
              <a:gd name="connsiteY899" fmla="*/ 3007909 h 3979594"/>
              <a:gd name="connsiteX900" fmla="*/ 2058691 w 2606154"/>
              <a:gd name="connsiteY900" fmla="*/ 3010352 h 3979594"/>
              <a:gd name="connsiteX901" fmla="*/ 2052173 w 2606154"/>
              <a:gd name="connsiteY901" fmla="*/ 3013610 h 3979594"/>
              <a:gd name="connsiteX902" fmla="*/ 2013069 w 2606154"/>
              <a:gd name="connsiteY902" fmla="*/ 3012795 h 3979594"/>
              <a:gd name="connsiteX903" fmla="*/ 1978038 w 2606154"/>
              <a:gd name="connsiteY903" fmla="*/ 3013610 h 3979594"/>
              <a:gd name="connsiteX904" fmla="*/ 1972335 w 2606154"/>
              <a:gd name="connsiteY904" fmla="*/ 3010352 h 3979594"/>
              <a:gd name="connsiteX905" fmla="*/ 1975594 w 2606154"/>
              <a:gd name="connsiteY905" fmla="*/ 3007909 h 3979594"/>
              <a:gd name="connsiteX906" fmla="*/ 1991072 w 2606154"/>
              <a:gd name="connsiteY906" fmla="*/ 3005465 h 3979594"/>
              <a:gd name="connsiteX907" fmla="*/ 2002478 w 2606154"/>
              <a:gd name="connsiteY907" fmla="*/ 2958224 h 3979594"/>
              <a:gd name="connsiteX908" fmla="*/ 2002478 w 2606154"/>
              <a:gd name="connsiteY908" fmla="*/ 2746457 h 3979594"/>
              <a:gd name="connsiteX909" fmla="*/ 2006552 w 2606154"/>
              <a:gd name="connsiteY909" fmla="*/ 2727724 h 3979594"/>
              <a:gd name="connsiteX910" fmla="*/ 1423242 w 2606154"/>
              <a:gd name="connsiteY910" fmla="*/ 2727724 h 3979594"/>
              <a:gd name="connsiteX911" fmla="*/ 1457459 w 2606154"/>
              <a:gd name="connsiteY911" fmla="*/ 2731796 h 3979594"/>
              <a:gd name="connsiteX912" fmla="*/ 1470493 w 2606154"/>
              <a:gd name="connsiteY912" fmla="*/ 2733426 h 3979594"/>
              <a:gd name="connsiteX913" fmla="*/ 1474567 w 2606154"/>
              <a:gd name="connsiteY913" fmla="*/ 2735869 h 3979594"/>
              <a:gd name="connsiteX914" fmla="*/ 1472938 w 2606154"/>
              <a:gd name="connsiteY914" fmla="*/ 2774964 h 3979594"/>
              <a:gd name="connsiteX915" fmla="*/ 1470493 w 2606154"/>
              <a:gd name="connsiteY915" fmla="*/ 2783109 h 3979594"/>
              <a:gd name="connsiteX916" fmla="*/ 1467235 w 2606154"/>
              <a:gd name="connsiteY916" fmla="*/ 2778222 h 3979594"/>
              <a:gd name="connsiteX917" fmla="*/ 1462347 w 2606154"/>
              <a:gd name="connsiteY917" fmla="*/ 2759489 h 3979594"/>
              <a:gd name="connsiteX918" fmla="*/ 1415910 w 2606154"/>
              <a:gd name="connsiteY918" fmla="*/ 2739941 h 3979594"/>
              <a:gd name="connsiteX919" fmla="*/ 1370288 w 2606154"/>
              <a:gd name="connsiteY919" fmla="*/ 2783109 h 3979594"/>
              <a:gd name="connsiteX920" fmla="*/ 1415095 w 2606154"/>
              <a:gd name="connsiteY920" fmla="*/ 2845010 h 3979594"/>
              <a:gd name="connsiteX921" fmla="*/ 1425686 w 2606154"/>
              <a:gd name="connsiteY921" fmla="*/ 2853155 h 3979594"/>
              <a:gd name="connsiteX922" fmla="*/ 1479455 w 2606154"/>
              <a:gd name="connsiteY922" fmla="*/ 2940306 h 3979594"/>
              <a:gd name="connsiteX923" fmla="*/ 1447683 w 2606154"/>
              <a:gd name="connsiteY923" fmla="*/ 3001392 h 3979594"/>
              <a:gd name="connsiteX924" fmla="*/ 1392284 w 2606154"/>
              <a:gd name="connsiteY924" fmla="*/ 3016868 h 3979594"/>
              <a:gd name="connsiteX925" fmla="*/ 1343404 w 2606154"/>
              <a:gd name="connsiteY925" fmla="*/ 3007094 h 3979594"/>
              <a:gd name="connsiteX926" fmla="*/ 1337701 w 2606154"/>
              <a:gd name="connsiteY926" fmla="*/ 2993247 h 3979594"/>
              <a:gd name="connsiteX927" fmla="*/ 1339330 w 2606154"/>
              <a:gd name="connsiteY927" fmla="*/ 2954152 h 3979594"/>
              <a:gd name="connsiteX928" fmla="*/ 1342589 w 2606154"/>
              <a:gd name="connsiteY928" fmla="*/ 2948450 h 3979594"/>
              <a:gd name="connsiteX929" fmla="*/ 1345033 w 2606154"/>
              <a:gd name="connsiteY929" fmla="*/ 2952523 h 3979594"/>
              <a:gd name="connsiteX930" fmla="*/ 1345848 w 2606154"/>
              <a:gd name="connsiteY930" fmla="*/ 2966369 h 3979594"/>
              <a:gd name="connsiteX931" fmla="*/ 1400431 w 2606154"/>
              <a:gd name="connsiteY931" fmla="*/ 3003836 h 3979594"/>
              <a:gd name="connsiteX932" fmla="*/ 1453385 w 2606154"/>
              <a:gd name="connsiteY932" fmla="*/ 2954967 h 3979594"/>
              <a:gd name="connsiteX933" fmla="*/ 1411022 w 2606154"/>
              <a:gd name="connsiteY933" fmla="*/ 2888179 h 3979594"/>
              <a:gd name="connsiteX934" fmla="*/ 1394728 w 2606154"/>
              <a:gd name="connsiteY934" fmla="*/ 2874332 h 3979594"/>
              <a:gd name="connsiteX935" fmla="*/ 1346663 w 2606154"/>
              <a:gd name="connsiteY935" fmla="*/ 2794512 h 3979594"/>
              <a:gd name="connsiteX936" fmla="*/ 1423242 w 2606154"/>
              <a:gd name="connsiteY936" fmla="*/ 2727724 h 3979594"/>
              <a:gd name="connsiteX937" fmla="*/ 1054193 w 2606154"/>
              <a:gd name="connsiteY937" fmla="*/ 2727724 h 3979594"/>
              <a:gd name="connsiteX938" fmla="*/ 1067228 w 2606154"/>
              <a:gd name="connsiteY938" fmla="*/ 2739941 h 3979594"/>
              <a:gd name="connsiteX939" fmla="*/ 1184542 w 2606154"/>
              <a:gd name="connsiteY939" fmla="*/ 2867002 h 3979594"/>
              <a:gd name="connsiteX940" fmla="*/ 1273342 w 2606154"/>
              <a:gd name="connsiteY940" fmla="*/ 2963112 h 3979594"/>
              <a:gd name="connsiteX941" fmla="*/ 1269269 w 2606154"/>
              <a:gd name="connsiteY941" fmla="*/ 2775779 h 3979594"/>
              <a:gd name="connsiteX942" fmla="*/ 1254604 w 2606154"/>
              <a:gd name="connsiteY942" fmla="*/ 2740756 h 3979594"/>
              <a:gd name="connsiteX943" fmla="*/ 1236681 w 2606154"/>
              <a:gd name="connsiteY943" fmla="*/ 2739127 h 3979594"/>
              <a:gd name="connsiteX944" fmla="*/ 1233422 w 2606154"/>
              <a:gd name="connsiteY944" fmla="*/ 2736683 h 3979594"/>
              <a:gd name="connsiteX945" fmla="*/ 1240755 w 2606154"/>
              <a:gd name="connsiteY945" fmla="*/ 2734240 h 3979594"/>
              <a:gd name="connsiteX946" fmla="*/ 1279045 w 2606154"/>
              <a:gd name="connsiteY946" fmla="*/ 2735054 h 3979594"/>
              <a:gd name="connsiteX947" fmla="*/ 1310817 w 2606154"/>
              <a:gd name="connsiteY947" fmla="*/ 2734240 h 3979594"/>
              <a:gd name="connsiteX948" fmla="*/ 1317334 w 2606154"/>
              <a:gd name="connsiteY948" fmla="*/ 2736683 h 3979594"/>
              <a:gd name="connsiteX949" fmla="*/ 1313261 w 2606154"/>
              <a:gd name="connsiteY949" fmla="*/ 2739127 h 3979594"/>
              <a:gd name="connsiteX950" fmla="*/ 1304300 w 2606154"/>
              <a:gd name="connsiteY950" fmla="*/ 2739941 h 3979594"/>
              <a:gd name="connsiteX951" fmla="*/ 1290450 w 2606154"/>
              <a:gd name="connsiteY951" fmla="*/ 2772521 h 3979594"/>
              <a:gd name="connsiteX952" fmla="*/ 1289635 w 2606154"/>
              <a:gd name="connsiteY952" fmla="*/ 2989175 h 3979594"/>
              <a:gd name="connsiteX953" fmla="*/ 1286377 w 2606154"/>
              <a:gd name="connsiteY953" fmla="*/ 3015239 h 3979594"/>
              <a:gd name="connsiteX954" fmla="*/ 1259492 w 2606154"/>
              <a:gd name="connsiteY954" fmla="*/ 2991619 h 3979594"/>
              <a:gd name="connsiteX955" fmla="*/ 1163360 w 2606154"/>
              <a:gd name="connsiteY955" fmla="*/ 2891436 h 3979594"/>
              <a:gd name="connsiteX956" fmla="*/ 1067228 w 2606154"/>
              <a:gd name="connsiteY956" fmla="*/ 2785553 h 3979594"/>
              <a:gd name="connsiteX957" fmla="*/ 1070487 w 2606154"/>
              <a:gd name="connsiteY957" fmla="*/ 2962297 h 3979594"/>
              <a:gd name="connsiteX958" fmla="*/ 1085151 w 2606154"/>
              <a:gd name="connsiteY958" fmla="*/ 3005465 h 3979594"/>
              <a:gd name="connsiteX959" fmla="*/ 1103889 w 2606154"/>
              <a:gd name="connsiteY959" fmla="*/ 3007909 h 3979594"/>
              <a:gd name="connsiteX960" fmla="*/ 1107147 w 2606154"/>
              <a:gd name="connsiteY960" fmla="*/ 3010352 h 3979594"/>
              <a:gd name="connsiteX961" fmla="*/ 1100630 w 2606154"/>
              <a:gd name="connsiteY961" fmla="*/ 3013610 h 3979594"/>
              <a:gd name="connsiteX962" fmla="*/ 1061526 w 2606154"/>
              <a:gd name="connsiteY962" fmla="*/ 3012795 h 3979594"/>
              <a:gd name="connsiteX963" fmla="*/ 1025680 w 2606154"/>
              <a:gd name="connsiteY963" fmla="*/ 3013610 h 3979594"/>
              <a:gd name="connsiteX964" fmla="*/ 1019977 w 2606154"/>
              <a:gd name="connsiteY964" fmla="*/ 3010352 h 3979594"/>
              <a:gd name="connsiteX965" fmla="*/ 1023236 w 2606154"/>
              <a:gd name="connsiteY965" fmla="*/ 3007909 h 3979594"/>
              <a:gd name="connsiteX966" fmla="*/ 1038714 w 2606154"/>
              <a:gd name="connsiteY966" fmla="*/ 3005465 h 3979594"/>
              <a:gd name="connsiteX967" fmla="*/ 1050120 w 2606154"/>
              <a:gd name="connsiteY967" fmla="*/ 2958224 h 3979594"/>
              <a:gd name="connsiteX968" fmla="*/ 1050120 w 2606154"/>
              <a:gd name="connsiteY968" fmla="*/ 2746457 h 3979594"/>
              <a:gd name="connsiteX969" fmla="*/ 1054193 w 2606154"/>
              <a:gd name="connsiteY969" fmla="*/ 2727724 h 3979594"/>
              <a:gd name="connsiteX970" fmla="*/ 158047 w 2606154"/>
              <a:gd name="connsiteY970" fmla="*/ 2727724 h 3979594"/>
              <a:gd name="connsiteX971" fmla="*/ 303060 w 2606154"/>
              <a:gd name="connsiteY971" fmla="*/ 2866187 h 3979594"/>
              <a:gd name="connsiteX972" fmla="*/ 237886 w 2606154"/>
              <a:gd name="connsiteY972" fmla="*/ 2989990 h 3979594"/>
              <a:gd name="connsiteX973" fmla="*/ 313651 w 2606154"/>
              <a:gd name="connsiteY973" fmla="*/ 3029085 h 3979594"/>
              <a:gd name="connsiteX974" fmla="*/ 469254 w 2606154"/>
              <a:gd name="connsiteY974" fmla="*/ 3073068 h 3979594"/>
              <a:gd name="connsiteX975" fmla="*/ 541761 w 2606154"/>
              <a:gd name="connsiteY975" fmla="*/ 3058406 h 3979594"/>
              <a:gd name="connsiteX976" fmla="*/ 546649 w 2606154"/>
              <a:gd name="connsiteY976" fmla="*/ 3056778 h 3979594"/>
              <a:gd name="connsiteX977" fmla="*/ 549093 w 2606154"/>
              <a:gd name="connsiteY977" fmla="*/ 3059221 h 3979594"/>
              <a:gd name="connsiteX978" fmla="*/ 545834 w 2606154"/>
              <a:gd name="connsiteY978" fmla="*/ 3063294 h 3979594"/>
              <a:gd name="connsiteX979" fmla="*/ 428521 w 2606154"/>
              <a:gd name="connsiteY979" fmla="*/ 3088543 h 3979594"/>
              <a:gd name="connsiteX980" fmla="*/ 276176 w 2606154"/>
              <a:gd name="connsiteY980" fmla="*/ 3038859 h 3979594"/>
              <a:gd name="connsiteX981" fmla="*/ 214260 w 2606154"/>
              <a:gd name="connsiteY981" fmla="*/ 3004650 h 3979594"/>
              <a:gd name="connsiteX982" fmla="*/ 156418 w 2606154"/>
              <a:gd name="connsiteY982" fmla="*/ 3016868 h 3979594"/>
              <a:gd name="connsiteX983" fmla="*/ 12220 w 2606154"/>
              <a:gd name="connsiteY983" fmla="*/ 2871889 h 3979594"/>
              <a:gd name="connsiteX984" fmla="*/ 158047 w 2606154"/>
              <a:gd name="connsiteY984" fmla="*/ 2727724 h 3979594"/>
              <a:gd name="connsiteX985" fmla="*/ 1200021 w 2606154"/>
              <a:gd name="connsiteY985" fmla="*/ 2338398 h 3979594"/>
              <a:gd name="connsiteX986" fmla="*/ 1200835 w 2606154"/>
              <a:gd name="connsiteY986" fmla="*/ 2338398 h 3979594"/>
              <a:gd name="connsiteX987" fmla="*/ 1217129 w 2606154"/>
              <a:gd name="connsiteY987" fmla="*/ 2398670 h 3979594"/>
              <a:gd name="connsiteX988" fmla="*/ 1182098 w 2606154"/>
              <a:gd name="connsiteY988" fmla="*/ 2398670 h 3979594"/>
              <a:gd name="connsiteX989" fmla="*/ 886370 w 2606154"/>
              <a:gd name="connsiteY989" fmla="*/ 2338398 h 3979594"/>
              <a:gd name="connsiteX990" fmla="*/ 902663 w 2606154"/>
              <a:gd name="connsiteY990" fmla="*/ 2398670 h 3979594"/>
              <a:gd name="connsiteX991" fmla="*/ 868447 w 2606154"/>
              <a:gd name="connsiteY991" fmla="*/ 2398670 h 3979594"/>
              <a:gd name="connsiteX992" fmla="*/ 497768 w 2606154"/>
              <a:gd name="connsiteY992" fmla="*/ 2338398 h 3979594"/>
              <a:gd name="connsiteX993" fmla="*/ 514061 w 2606154"/>
              <a:gd name="connsiteY993" fmla="*/ 2398670 h 3979594"/>
              <a:gd name="connsiteX994" fmla="*/ 479845 w 2606154"/>
              <a:gd name="connsiteY994" fmla="*/ 2398670 h 3979594"/>
              <a:gd name="connsiteX995" fmla="*/ 1650538 w 2606154"/>
              <a:gd name="connsiteY995" fmla="*/ 2336769 h 3979594"/>
              <a:gd name="connsiteX996" fmla="*/ 1658685 w 2606154"/>
              <a:gd name="connsiteY996" fmla="*/ 2336769 h 3979594"/>
              <a:gd name="connsiteX997" fmla="*/ 1697789 w 2606154"/>
              <a:gd name="connsiteY997" fmla="*/ 2383195 h 3979594"/>
              <a:gd name="connsiteX998" fmla="*/ 1658685 w 2606154"/>
              <a:gd name="connsiteY998" fmla="*/ 2429621 h 3979594"/>
              <a:gd name="connsiteX999" fmla="*/ 1650538 w 2606154"/>
              <a:gd name="connsiteY999" fmla="*/ 2429621 h 3979594"/>
              <a:gd name="connsiteX1000" fmla="*/ 736469 w 2606154"/>
              <a:gd name="connsiteY1000" fmla="*/ 2336769 h 3979594"/>
              <a:gd name="connsiteX1001" fmla="*/ 744616 w 2606154"/>
              <a:gd name="connsiteY1001" fmla="*/ 2336769 h 3979594"/>
              <a:gd name="connsiteX1002" fmla="*/ 783720 w 2606154"/>
              <a:gd name="connsiteY1002" fmla="*/ 2383195 h 3979594"/>
              <a:gd name="connsiteX1003" fmla="*/ 744616 w 2606154"/>
              <a:gd name="connsiteY1003" fmla="*/ 2429621 h 3979594"/>
              <a:gd name="connsiteX1004" fmla="*/ 736469 w 2606154"/>
              <a:gd name="connsiteY1004" fmla="*/ 2429621 h 3979594"/>
              <a:gd name="connsiteX1005" fmla="*/ 1977223 w 2606154"/>
              <a:gd name="connsiteY1005" fmla="*/ 2318850 h 3979594"/>
              <a:gd name="connsiteX1006" fmla="*/ 1977223 w 2606154"/>
              <a:gd name="connsiteY1006" fmla="*/ 2448355 h 3979594"/>
              <a:gd name="connsiteX1007" fmla="*/ 2000849 w 2606154"/>
              <a:gd name="connsiteY1007" fmla="*/ 2448355 h 3979594"/>
              <a:gd name="connsiteX1008" fmla="*/ 2000849 w 2606154"/>
              <a:gd name="connsiteY1008" fmla="*/ 2318850 h 3979594"/>
              <a:gd name="connsiteX1009" fmla="*/ 1873759 w 2606154"/>
              <a:gd name="connsiteY1009" fmla="*/ 2318850 h 3979594"/>
              <a:gd name="connsiteX1010" fmla="*/ 1873759 w 2606154"/>
              <a:gd name="connsiteY1010" fmla="*/ 2448355 h 3979594"/>
              <a:gd name="connsiteX1011" fmla="*/ 1940563 w 2606154"/>
              <a:gd name="connsiteY1011" fmla="*/ 2448355 h 3979594"/>
              <a:gd name="connsiteX1012" fmla="*/ 1940563 w 2606154"/>
              <a:gd name="connsiteY1012" fmla="*/ 2429621 h 3979594"/>
              <a:gd name="connsiteX1013" fmla="*/ 1898199 w 2606154"/>
              <a:gd name="connsiteY1013" fmla="*/ 2429621 h 3979594"/>
              <a:gd name="connsiteX1014" fmla="*/ 1898199 w 2606154"/>
              <a:gd name="connsiteY1014" fmla="*/ 2318850 h 3979594"/>
              <a:gd name="connsiteX1015" fmla="*/ 1874574 w 2606154"/>
              <a:gd name="connsiteY1015" fmla="*/ 2318850 h 3979594"/>
              <a:gd name="connsiteX1016" fmla="*/ 1763777 w 2606154"/>
              <a:gd name="connsiteY1016" fmla="*/ 2318850 h 3979594"/>
              <a:gd name="connsiteX1017" fmla="*/ 1763777 w 2606154"/>
              <a:gd name="connsiteY1017" fmla="*/ 2447540 h 3979594"/>
              <a:gd name="connsiteX1018" fmla="*/ 1833840 w 2606154"/>
              <a:gd name="connsiteY1018" fmla="*/ 2447540 h 3979594"/>
              <a:gd name="connsiteX1019" fmla="*/ 1833840 w 2606154"/>
              <a:gd name="connsiteY1019" fmla="*/ 2428807 h 3979594"/>
              <a:gd name="connsiteX1020" fmla="*/ 1787403 w 2606154"/>
              <a:gd name="connsiteY1020" fmla="*/ 2428807 h 3979594"/>
              <a:gd name="connsiteX1021" fmla="*/ 1787403 w 2606154"/>
              <a:gd name="connsiteY1021" fmla="*/ 2390526 h 3979594"/>
              <a:gd name="connsiteX1022" fmla="*/ 1829766 w 2606154"/>
              <a:gd name="connsiteY1022" fmla="*/ 2390526 h 3979594"/>
              <a:gd name="connsiteX1023" fmla="*/ 1829766 w 2606154"/>
              <a:gd name="connsiteY1023" fmla="*/ 2371792 h 3979594"/>
              <a:gd name="connsiteX1024" fmla="*/ 1787403 w 2606154"/>
              <a:gd name="connsiteY1024" fmla="*/ 2371792 h 3979594"/>
              <a:gd name="connsiteX1025" fmla="*/ 1787403 w 2606154"/>
              <a:gd name="connsiteY1025" fmla="*/ 2337584 h 3979594"/>
              <a:gd name="connsiteX1026" fmla="*/ 1832210 w 2606154"/>
              <a:gd name="connsiteY1026" fmla="*/ 2337584 h 3979594"/>
              <a:gd name="connsiteX1027" fmla="*/ 1832210 w 2606154"/>
              <a:gd name="connsiteY1027" fmla="*/ 2318850 h 3979594"/>
              <a:gd name="connsiteX1028" fmla="*/ 1627726 w 2606154"/>
              <a:gd name="connsiteY1028" fmla="*/ 2318850 h 3979594"/>
              <a:gd name="connsiteX1029" fmla="*/ 1627726 w 2606154"/>
              <a:gd name="connsiteY1029" fmla="*/ 2449169 h 3979594"/>
              <a:gd name="connsiteX1030" fmla="*/ 1661128 w 2606154"/>
              <a:gd name="connsiteY1030" fmla="*/ 2449169 h 3979594"/>
              <a:gd name="connsiteX1031" fmla="*/ 1723044 w 2606154"/>
              <a:gd name="connsiteY1031" fmla="*/ 2384010 h 3979594"/>
              <a:gd name="connsiteX1032" fmla="*/ 1661128 w 2606154"/>
              <a:gd name="connsiteY1032" fmla="*/ 2318850 h 3979594"/>
              <a:gd name="connsiteX1033" fmla="*/ 1558479 w 2606154"/>
              <a:gd name="connsiteY1033" fmla="*/ 2318850 h 3979594"/>
              <a:gd name="connsiteX1034" fmla="*/ 1558479 w 2606154"/>
              <a:gd name="connsiteY1034" fmla="*/ 2448355 h 3979594"/>
              <a:gd name="connsiteX1035" fmla="*/ 1582104 w 2606154"/>
              <a:gd name="connsiteY1035" fmla="*/ 2448355 h 3979594"/>
              <a:gd name="connsiteX1036" fmla="*/ 1582104 w 2606154"/>
              <a:gd name="connsiteY1036" fmla="*/ 2318850 h 3979594"/>
              <a:gd name="connsiteX1037" fmla="*/ 1454200 w 2606154"/>
              <a:gd name="connsiteY1037" fmla="*/ 2318850 h 3979594"/>
              <a:gd name="connsiteX1038" fmla="*/ 1454200 w 2606154"/>
              <a:gd name="connsiteY1038" fmla="*/ 2447540 h 3979594"/>
              <a:gd name="connsiteX1039" fmla="*/ 1477825 w 2606154"/>
              <a:gd name="connsiteY1039" fmla="*/ 2447540 h 3979594"/>
              <a:gd name="connsiteX1040" fmla="*/ 1477825 w 2606154"/>
              <a:gd name="connsiteY1040" fmla="*/ 2391340 h 3979594"/>
              <a:gd name="connsiteX1041" fmla="*/ 1517745 w 2606154"/>
              <a:gd name="connsiteY1041" fmla="*/ 2391340 h 3979594"/>
              <a:gd name="connsiteX1042" fmla="*/ 1517745 w 2606154"/>
              <a:gd name="connsiteY1042" fmla="*/ 2372607 h 3979594"/>
              <a:gd name="connsiteX1043" fmla="*/ 1477825 w 2606154"/>
              <a:gd name="connsiteY1043" fmla="*/ 2372607 h 3979594"/>
              <a:gd name="connsiteX1044" fmla="*/ 1477825 w 2606154"/>
              <a:gd name="connsiteY1044" fmla="*/ 2337584 h 3979594"/>
              <a:gd name="connsiteX1045" fmla="*/ 1519374 w 2606154"/>
              <a:gd name="connsiteY1045" fmla="*/ 2337584 h 3979594"/>
              <a:gd name="connsiteX1046" fmla="*/ 1519374 w 2606154"/>
              <a:gd name="connsiteY1046" fmla="*/ 2318850 h 3979594"/>
              <a:gd name="connsiteX1047" fmla="*/ 1269268 w 2606154"/>
              <a:gd name="connsiteY1047" fmla="*/ 2318850 h 3979594"/>
              <a:gd name="connsiteX1048" fmla="*/ 1269268 w 2606154"/>
              <a:gd name="connsiteY1048" fmla="*/ 2337584 h 3979594"/>
              <a:gd name="connsiteX1049" fmla="*/ 1298596 w 2606154"/>
              <a:gd name="connsiteY1049" fmla="*/ 2337584 h 3979594"/>
              <a:gd name="connsiteX1050" fmla="*/ 1298596 w 2606154"/>
              <a:gd name="connsiteY1050" fmla="*/ 2448355 h 3979594"/>
              <a:gd name="connsiteX1051" fmla="*/ 1322222 w 2606154"/>
              <a:gd name="connsiteY1051" fmla="*/ 2448355 h 3979594"/>
              <a:gd name="connsiteX1052" fmla="*/ 1322222 w 2606154"/>
              <a:gd name="connsiteY1052" fmla="*/ 2337584 h 3979594"/>
              <a:gd name="connsiteX1053" fmla="*/ 1350736 w 2606154"/>
              <a:gd name="connsiteY1053" fmla="*/ 2337584 h 3979594"/>
              <a:gd name="connsiteX1054" fmla="*/ 1350736 w 2606154"/>
              <a:gd name="connsiteY1054" fmla="*/ 2318850 h 3979594"/>
              <a:gd name="connsiteX1055" fmla="*/ 1187800 w 2606154"/>
              <a:gd name="connsiteY1055" fmla="*/ 2318850 h 3979594"/>
              <a:gd name="connsiteX1056" fmla="*/ 1144622 w 2606154"/>
              <a:gd name="connsiteY1056" fmla="*/ 2448355 h 3979594"/>
              <a:gd name="connsiteX1057" fmla="*/ 1168248 w 2606154"/>
              <a:gd name="connsiteY1057" fmla="*/ 2448355 h 3979594"/>
              <a:gd name="connsiteX1058" fmla="*/ 1177209 w 2606154"/>
              <a:gd name="connsiteY1058" fmla="*/ 2417404 h 3979594"/>
              <a:gd name="connsiteX1059" fmla="*/ 1222017 w 2606154"/>
              <a:gd name="connsiteY1059" fmla="*/ 2417404 h 3979594"/>
              <a:gd name="connsiteX1060" fmla="*/ 1230978 w 2606154"/>
              <a:gd name="connsiteY1060" fmla="*/ 2448355 h 3979594"/>
              <a:gd name="connsiteX1061" fmla="*/ 1255418 w 2606154"/>
              <a:gd name="connsiteY1061" fmla="*/ 2448355 h 3979594"/>
              <a:gd name="connsiteX1062" fmla="*/ 1213870 w 2606154"/>
              <a:gd name="connsiteY1062" fmla="*/ 2318850 h 3979594"/>
              <a:gd name="connsiteX1063" fmla="*/ 966208 w 2606154"/>
              <a:gd name="connsiteY1063" fmla="*/ 2318850 h 3979594"/>
              <a:gd name="connsiteX1064" fmla="*/ 1000424 w 2606154"/>
              <a:gd name="connsiteY1064" fmla="*/ 2379937 h 3979594"/>
              <a:gd name="connsiteX1065" fmla="*/ 962134 w 2606154"/>
              <a:gd name="connsiteY1065" fmla="*/ 2448355 h 3979594"/>
              <a:gd name="connsiteX1066" fmla="*/ 988204 w 2606154"/>
              <a:gd name="connsiteY1066" fmla="*/ 2448355 h 3979594"/>
              <a:gd name="connsiteX1067" fmla="*/ 1015088 w 2606154"/>
              <a:gd name="connsiteY1067" fmla="*/ 2400299 h 3979594"/>
              <a:gd name="connsiteX1068" fmla="*/ 1039529 w 2606154"/>
              <a:gd name="connsiteY1068" fmla="*/ 2448355 h 3979594"/>
              <a:gd name="connsiteX1069" fmla="*/ 1065599 w 2606154"/>
              <a:gd name="connsiteY1069" fmla="*/ 2448355 h 3979594"/>
              <a:gd name="connsiteX1070" fmla="*/ 1028123 w 2606154"/>
              <a:gd name="connsiteY1070" fmla="*/ 2379937 h 3979594"/>
              <a:gd name="connsiteX1071" fmla="*/ 1063154 w 2606154"/>
              <a:gd name="connsiteY1071" fmla="*/ 2318850 h 3979594"/>
              <a:gd name="connsiteX1072" fmla="*/ 1037899 w 2606154"/>
              <a:gd name="connsiteY1072" fmla="*/ 2318850 h 3979594"/>
              <a:gd name="connsiteX1073" fmla="*/ 1014274 w 2606154"/>
              <a:gd name="connsiteY1073" fmla="*/ 2360390 h 3979594"/>
              <a:gd name="connsiteX1074" fmla="*/ 993907 w 2606154"/>
              <a:gd name="connsiteY1074" fmla="*/ 2318850 h 3979594"/>
              <a:gd name="connsiteX1075" fmla="*/ 873334 w 2606154"/>
              <a:gd name="connsiteY1075" fmla="*/ 2318850 h 3979594"/>
              <a:gd name="connsiteX1076" fmla="*/ 830156 w 2606154"/>
              <a:gd name="connsiteY1076" fmla="*/ 2448355 h 3979594"/>
              <a:gd name="connsiteX1077" fmla="*/ 853782 w 2606154"/>
              <a:gd name="connsiteY1077" fmla="*/ 2448355 h 3979594"/>
              <a:gd name="connsiteX1078" fmla="*/ 862744 w 2606154"/>
              <a:gd name="connsiteY1078" fmla="*/ 2417404 h 3979594"/>
              <a:gd name="connsiteX1079" fmla="*/ 907551 w 2606154"/>
              <a:gd name="connsiteY1079" fmla="*/ 2417404 h 3979594"/>
              <a:gd name="connsiteX1080" fmla="*/ 916512 w 2606154"/>
              <a:gd name="connsiteY1080" fmla="*/ 2448355 h 3979594"/>
              <a:gd name="connsiteX1081" fmla="*/ 940953 w 2606154"/>
              <a:gd name="connsiteY1081" fmla="*/ 2448355 h 3979594"/>
              <a:gd name="connsiteX1082" fmla="*/ 899404 w 2606154"/>
              <a:gd name="connsiteY1082" fmla="*/ 2318850 h 3979594"/>
              <a:gd name="connsiteX1083" fmla="*/ 712028 w 2606154"/>
              <a:gd name="connsiteY1083" fmla="*/ 2318850 h 3979594"/>
              <a:gd name="connsiteX1084" fmla="*/ 712028 w 2606154"/>
              <a:gd name="connsiteY1084" fmla="*/ 2448355 h 3979594"/>
              <a:gd name="connsiteX1085" fmla="*/ 746245 w 2606154"/>
              <a:gd name="connsiteY1085" fmla="*/ 2448355 h 3979594"/>
              <a:gd name="connsiteX1086" fmla="*/ 808160 w 2606154"/>
              <a:gd name="connsiteY1086" fmla="*/ 2384010 h 3979594"/>
              <a:gd name="connsiteX1087" fmla="*/ 746245 w 2606154"/>
              <a:gd name="connsiteY1087" fmla="*/ 2318850 h 3979594"/>
              <a:gd name="connsiteX1088" fmla="*/ 580865 w 2606154"/>
              <a:gd name="connsiteY1088" fmla="*/ 2318850 h 3979594"/>
              <a:gd name="connsiteX1089" fmla="*/ 580865 w 2606154"/>
              <a:gd name="connsiteY1089" fmla="*/ 2402743 h 3979594"/>
              <a:gd name="connsiteX1090" fmla="*/ 624858 w 2606154"/>
              <a:gd name="connsiteY1090" fmla="*/ 2449983 h 3979594"/>
              <a:gd name="connsiteX1091" fmla="*/ 668850 w 2606154"/>
              <a:gd name="connsiteY1091" fmla="*/ 2402743 h 3979594"/>
              <a:gd name="connsiteX1092" fmla="*/ 668850 w 2606154"/>
              <a:gd name="connsiteY1092" fmla="*/ 2318850 h 3979594"/>
              <a:gd name="connsiteX1093" fmla="*/ 645225 w 2606154"/>
              <a:gd name="connsiteY1093" fmla="*/ 2318850 h 3979594"/>
              <a:gd name="connsiteX1094" fmla="*/ 645225 w 2606154"/>
              <a:gd name="connsiteY1094" fmla="*/ 2402743 h 3979594"/>
              <a:gd name="connsiteX1095" fmla="*/ 624858 w 2606154"/>
              <a:gd name="connsiteY1095" fmla="*/ 2431250 h 3979594"/>
              <a:gd name="connsiteX1096" fmla="*/ 604491 w 2606154"/>
              <a:gd name="connsiteY1096" fmla="*/ 2402743 h 3979594"/>
              <a:gd name="connsiteX1097" fmla="*/ 604491 w 2606154"/>
              <a:gd name="connsiteY1097" fmla="*/ 2318850 h 3979594"/>
              <a:gd name="connsiteX1098" fmla="*/ 485548 w 2606154"/>
              <a:gd name="connsiteY1098" fmla="*/ 2318850 h 3979594"/>
              <a:gd name="connsiteX1099" fmla="*/ 442370 w 2606154"/>
              <a:gd name="connsiteY1099" fmla="*/ 2448355 h 3979594"/>
              <a:gd name="connsiteX1100" fmla="*/ 465995 w 2606154"/>
              <a:gd name="connsiteY1100" fmla="*/ 2448355 h 3979594"/>
              <a:gd name="connsiteX1101" fmla="*/ 474957 w 2606154"/>
              <a:gd name="connsiteY1101" fmla="*/ 2417404 h 3979594"/>
              <a:gd name="connsiteX1102" fmla="*/ 519764 w 2606154"/>
              <a:gd name="connsiteY1102" fmla="*/ 2417404 h 3979594"/>
              <a:gd name="connsiteX1103" fmla="*/ 528726 w 2606154"/>
              <a:gd name="connsiteY1103" fmla="*/ 2448355 h 3979594"/>
              <a:gd name="connsiteX1104" fmla="*/ 553166 w 2606154"/>
              <a:gd name="connsiteY1104" fmla="*/ 2448355 h 3979594"/>
              <a:gd name="connsiteX1105" fmla="*/ 511617 w 2606154"/>
              <a:gd name="connsiteY1105" fmla="*/ 2318850 h 3979594"/>
              <a:gd name="connsiteX1106" fmla="*/ 2083131 w 2606154"/>
              <a:gd name="connsiteY1106" fmla="*/ 2316407 h 3979594"/>
              <a:gd name="connsiteX1107" fmla="*/ 2043212 w 2606154"/>
              <a:gd name="connsiteY1107" fmla="*/ 2352245 h 3979594"/>
              <a:gd name="connsiteX1108" fmla="*/ 2064394 w 2606154"/>
              <a:gd name="connsiteY1108" fmla="*/ 2386453 h 3979594"/>
              <a:gd name="connsiteX1109" fmla="*/ 2076614 w 2606154"/>
              <a:gd name="connsiteY1109" fmla="*/ 2392969 h 3979594"/>
              <a:gd name="connsiteX1110" fmla="*/ 2093722 w 2606154"/>
              <a:gd name="connsiteY1110" fmla="*/ 2412517 h 3979594"/>
              <a:gd name="connsiteX1111" fmla="*/ 2074170 w 2606154"/>
              <a:gd name="connsiteY1111" fmla="*/ 2431250 h 3979594"/>
              <a:gd name="connsiteX1112" fmla="*/ 2046471 w 2606154"/>
              <a:gd name="connsiteY1112" fmla="*/ 2423105 h 3979594"/>
              <a:gd name="connsiteX1113" fmla="*/ 2044841 w 2606154"/>
              <a:gd name="connsiteY1113" fmla="*/ 2444282 h 3979594"/>
              <a:gd name="connsiteX1114" fmla="*/ 2074170 w 2606154"/>
              <a:gd name="connsiteY1114" fmla="*/ 2449983 h 3979594"/>
              <a:gd name="connsiteX1115" fmla="*/ 2117348 w 2606154"/>
              <a:gd name="connsiteY1115" fmla="*/ 2410888 h 3979594"/>
              <a:gd name="connsiteX1116" fmla="*/ 2094537 w 2606154"/>
              <a:gd name="connsiteY1116" fmla="*/ 2375865 h 3979594"/>
              <a:gd name="connsiteX1117" fmla="*/ 2080687 w 2606154"/>
              <a:gd name="connsiteY1117" fmla="*/ 2367720 h 3979594"/>
              <a:gd name="connsiteX1118" fmla="*/ 2066838 w 2606154"/>
              <a:gd name="connsiteY1118" fmla="*/ 2350616 h 3979594"/>
              <a:gd name="connsiteX1119" fmla="*/ 2084760 w 2606154"/>
              <a:gd name="connsiteY1119" fmla="*/ 2335140 h 3979594"/>
              <a:gd name="connsiteX1120" fmla="*/ 2109201 w 2606154"/>
              <a:gd name="connsiteY1120" fmla="*/ 2340842 h 3979594"/>
              <a:gd name="connsiteX1121" fmla="*/ 2110016 w 2606154"/>
              <a:gd name="connsiteY1121" fmla="*/ 2321294 h 3979594"/>
              <a:gd name="connsiteX1122" fmla="*/ 2083131 w 2606154"/>
              <a:gd name="connsiteY1122" fmla="*/ 2316407 h 3979594"/>
              <a:gd name="connsiteX1123" fmla="*/ 370678 w 2606154"/>
              <a:gd name="connsiteY1123" fmla="*/ 2287900 h 3979594"/>
              <a:gd name="connsiteX1124" fmla="*/ 1286376 w 2606154"/>
              <a:gd name="connsiteY1124" fmla="*/ 2287900 h 3979594"/>
              <a:gd name="connsiteX1125" fmla="*/ 1288005 w 2606154"/>
              <a:gd name="connsiteY1125" fmla="*/ 2287900 h 3979594"/>
              <a:gd name="connsiteX1126" fmla="*/ 2202889 w 2606154"/>
              <a:gd name="connsiteY1126" fmla="*/ 2287900 h 3979594"/>
              <a:gd name="connsiteX1127" fmla="*/ 2152379 w 2606154"/>
              <a:gd name="connsiteY1127" fmla="*/ 2480120 h 3979594"/>
              <a:gd name="connsiteX1128" fmla="*/ 1288005 w 2606154"/>
              <a:gd name="connsiteY1128" fmla="*/ 2480120 h 3979594"/>
              <a:gd name="connsiteX1129" fmla="*/ 1285562 w 2606154"/>
              <a:gd name="connsiteY1129" fmla="*/ 2480120 h 3979594"/>
              <a:gd name="connsiteX1130" fmla="*/ 421188 w 2606154"/>
              <a:gd name="connsiteY1130" fmla="*/ 2480120 h 3979594"/>
              <a:gd name="connsiteX1131" fmla="*/ 1681496 w 2606154"/>
              <a:gd name="connsiteY1131" fmla="*/ 2008530 h 3979594"/>
              <a:gd name="connsiteX1132" fmla="*/ 1727118 w 2606154"/>
              <a:gd name="connsiteY1132" fmla="*/ 2054141 h 3979594"/>
              <a:gd name="connsiteX1133" fmla="*/ 1681496 w 2606154"/>
              <a:gd name="connsiteY1133" fmla="*/ 2099753 h 3979594"/>
              <a:gd name="connsiteX1134" fmla="*/ 1636688 w 2606154"/>
              <a:gd name="connsiteY1134" fmla="*/ 2063915 h 3979594"/>
              <a:gd name="connsiteX1135" fmla="*/ 1860725 w 2606154"/>
              <a:gd name="connsiteY1135" fmla="*/ 2239030 h 3979594"/>
              <a:gd name="connsiteX1136" fmla="*/ 1580476 w 2606154"/>
              <a:gd name="connsiteY1136" fmla="*/ 2239030 h 3979594"/>
              <a:gd name="connsiteX1137" fmla="*/ 1626098 w 2606154"/>
              <a:gd name="connsiteY1137" fmla="*/ 2032965 h 3979594"/>
              <a:gd name="connsiteX1138" fmla="*/ 1666832 w 2606154"/>
              <a:gd name="connsiteY1138" fmla="*/ 2010973 h 3979594"/>
              <a:gd name="connsiteX1139" fmla="*/ 1681496 w 2606154"/>
              <a:gd name="connsiteY1139" fmla="*/ 2008530 h 3979594"/>
              <a:gd name="connsiteX1140" fmla="*/ 896146 w 2606154"/>
              <a:gd name="connsiteY1140" fmla="*/ 2008530 h 3979594"/>
              <a:gd name="connsiteX1141" fmla="*/ 910810 w 2606154"/>
              <a:gd name="connsiteY1141" fmla="*/ 2010973 h 3979594"/>
              <a:gd name="connsiteX1142" fmla="*/ 951544 w 2606154"/>
              <a:gd name="connsiteY1142" fmla="*/ 2032965 h 3979594"/>
              <a:gd name="connsiteX1143" fmla="*/ 997166 w 2606154"/>
              <a:gd name="connsiteY1143" fmla="*/ 2239030 h 3979594"/>
              <a:gd name="connsiteX1144" fmla="*/ 716917 w 2606154"/>
              <a:gd name="connsiteY1144" fmla="*/ 2239030 h 3979594"/>
              <a:gd name="connsiteX1145" fmla="*/ 940953 w 2606154"/>
              <a:gd name="connsiteY1145" fmla="*/ 2063915 h 3979594"/>
              <a:gd name="connsiteX1146" fmla="*/ 896146 w 2606154"/>
              <a:gd name="connsiteY1146" fmla="*/ 2099753 h 3979594"/>
              <a:gd name="connsiteX1147" fmla="*/ 850524 w 2606154"/>
              <a:gd name="connsiteY1147" fmla="*/ 2054141 h 3979594"/>
              <a:gd name="connsiteX1148" fmla="*/ 896146 w 2606154"/>
              <a:gd name="connsiteY1148" fmla="*/ 2008530 h 3979594"/>
              <a:gd name="connsiteX1149" fmla="*/ 1485158 w 2606154"/>
              <a:gd name="connsiteY1149" fmla="*/ 1890429 h 3979594"/>
              <a:gd name="connsiteX1150" fmla="*/ 1509598 w 2606154"/>
              <a:gd name="connsiteY1150" fmla="*/ 1918936 h 3979594"/>
              <a:gd name="connsiteX1151" fmla="*/ 1466420 w 2606154"/>
              <a:gd name="connsiteY1151" fmla="*/ 1955588 h 3979594"/>
              <a:gd name="connsiteX1152" fmla="*/ 1446868 w 2606154"/>
              <a:gd name="connsiteY1152" fmla="*/ 1933597 h 3979594"/>
              <a:gd name="connsiteX1153" fmla="*/ 1463976 w 2606154"/>
              <a:gd name="connsiteY1153" fmla="*/ 1918936 h 3979594"/>
              <a:gd name="connsiteX1154" fmla="*/ 1397173 w 2606154"/>
              <a:gd name="connsiteY1154" fmla="*/ 1893687 h 3979594"/>
              <a:gd name="connsiteX1155" fmla="*/ 1413466 w 2606154"/>
              <a:gd name="connsiteY1155" fmla="*/ 1962919 h 3979594"/>
              <a:gd name="connsiteX1156" fmla="*/ 1430574 w 2606154"/>
              <a:gd name="connsiteY1156" fmla="*/ 1947443 h 3979594"/>
              <a:gd name="connsiteX1157" fmla="*/ 1449312 w 2606154"/>
              <a:gd name="connsiteY1157" fmla="*/ 1969435 h 3979594"/>
              <a:gd name="connsiteX1158" fmla="*/ 1396358 w 2606154"/>
              <a:gd name="connsiteY1158" fmla="*/ 2014231 h 3979594"/>
              <a:gd name="connsiteX1159" fmla="*/ 1413466 w 2606154"/>
              <a:gd name="connsiteY1159" fmla="*/ 2033779 h 3979594"/>
              <a:gd name="connsiteX1160" fmla="*/ 1464791 w 2606154"/>
              <a:gd name="connsiteY1160" fmla="*/ 1987353 h 3979594"/>
              <a:gd name="connsiteX1161" fmla="*/ 1481899 w 2606154"/>
              <a:gd name="connsiteY1161" fmla="*/ 2006901 h 3979594"/>
              <a:gd name="connsiteX1162" fmla="*/ 1486787 w 2606154"/>
              <a:gd name="connsiteY1162" fmla="*/ 2041110 h 3979594"/>
              <a:gd name="connsiteX1163" fmla="*/ 1530780 w 2606154"/>
              <a:gd name="connsiteY1163" fmla="*/ 2002829 h 3979594"/>
              <a:gd name="connsiteX1164" fmla="*/ 1497378 w 2606154"/>
              <a:gd name="connsiteY1164" fmla="*/ 1993055 h 3979594"/>
              <a:gd name="connsiteX1165" fmla="*/ 1482714 w 2606154"/>
              <a:gd name="connsiteY1165" fmla="*/ 1971878 h 3979594"/>
              <a:gd name="connsiteX1166" fmla="*/ 1524262 w 2606154"/>
              <a:gd name="connsiteY1166" fmla="*/ 1934412 h 3979594"/>
              <a:gd name="connsiteX1167" fmla="*/ 1548703 w 2606154"/>
              <a:gd name="connsiteY1167" fmla="*/ 1962919 h 3979594"/>
              <a:gd name="connsiteX1168" fmla="*/ 1538112 w 2606154"/>
              <a:gd name="connsiteY1168" fmla="*/ 1908348 h 3979594"/>
              <a:gd name="connsiteX1169" fmla="*/ 1485158 w 2606154"/>
              <a:gd name="connsiteY1169" fmla="*/ 1890429 h 3979594"/>
              <a:gd name="connsiteX1170" fmla="*/ 1100630 w 2606154"/>
              <a:gd name="connsiteY1170" fmla="*/ 1829342 h 3979594"/>
              <a:gd name="connsiteX1171" fmla="*/ 1167434 w 2606154"/>
              <a:gd name="connsiteY1171" fmla="*/ 1835858 h 3979594"/>
              <a:gd name="connsiteX1172" fmla="*/ 1168248 w 2606154"/>
              <a:gd name="connsiteY1172" fmla="*/ 1855406 h 3979594"/>
              <a:gd name="connsiteX1173" fmla="*/ 1100630 w 2606154"/>
              <a:gd name="connsiteY1173" fmla="*/ 1862736 h 3979594"/>
              <a:gd name="connsiteX1174" fmla="*/ 1033012 w 2606154"/>
              <a:gd name="connsiteY1174" fmla="*/ 1855406 h 3979594"/>
              <a:gd name="connsiteX1175" fmla="*/ 1033012 w 2606154"/>
              <a:gd name="connsiteY1175" fmla="*/ 1835858 h 3979594"/>
              <a:gd name="connsiteX1176" fmla="*/ 1100630 w 2606154"/>
              <a:gd name="connsiteY1176" fmla="*/ 1829342 h 3979594"/>
              <a:gd name="connsiteX1177" fmla="*/ 1491675 w 2606154"/>
              <a:gd name="connsiteY1177" fmla="*/ 1823641 h 3979594"/>
              <a:gd name="connsiteX1178" fmla="*/ 1643205 w 2606154"/>
              <a:gd name="connsiteY1178" fmla="*/ 1904275 h 3979594"/>
              <a:gd name="connsiteX1179" fmla="*/ 1327925 w 2606154"/>
              <a:gd name="connsiteY1179" fmla="*/ 2163283 h 3979594"/>
              <a:gd name="connsiteX1180" fmla="*/ 1327925 w 2606154"/>
              <a:gd name="connsiteY1180" fmla="*/ 1885542 h 3979594"/>
              <a:gd name="connsiteX1181" fmla="*/ 1328740 w 2606154"/>
              <a:gd name="connsiteY1181" fmla="*/ 1884728 h 3979594"/>
              <a:gd name="connsiteX1182" fmla="*/ 1491675 w 2606154"/>
              <a:gd name="connsiteY1182" fmla="*/ 1823641 h 3979594"/>
              <a:gd name="connsiteX1183" fmla="*/ 1978038 w 2606154"/>
              <a:gd name="connsiteY1183" fmla="*/ 1722644 h 3979594"/>
              <a:gd name="connsiteX1184" fmla="*/ 2087205 w 2606154"/>
              <a:gd name="connsiteY1184" fmla="*/ 1765812 h 3979594"/>
              <a:gd name="connsiteX1185" fmla="*/ 2147491 w 2606154"/>
              <a:gd name="connsiteY1185" fmla="*/ 1944185 h 3979594"/>
              <a:gd name="connsiteX1186" fmla="*/ 2165414 w 2606154"/>
              <a:gd name="connsiteY1186" fmla="*/ 2173871 h 3979594"/>
              <a:gd name="connsiteX1187" fmla="*/ 2217553 w 2606154"/>
              <a:gd name="connsiteY1187" fmla="*/ 2242288 h 3979594"/>
              <a:gd name="connsiteX1188" fmla="*/ 2000849 w 2606154"/>
              <a:gd name="connsiteY1188" fmla="*/ 2256135 h 3979594"/>
              <a:gd name="connsiteX1189" fmla="*/ 2046471 w 2606154"/>
              <a:gd name="connsiteY1189" fmla="*/ 2208080 h 3979594"/>
              <a:gd name="connsiteX1190" fmla="*/ 2127939 w 2606154"/>
              <a:gd name="connsiteY1190" fmla="*/ 2173871 h 3979594"/>
              <a:gd name="connsiteX1191" fmla="*/ 2092093 w 2606154"/>
              <a:gd name="connsiteY1191" fmla="*/ 1925452 h 3979594"/>
              <a:gd name="connsiteX1192" fmla="*/ 1978038 w 2606154"/>
              <a:gd name="connsiteY1192" fmla="*/ 1722644 h 3979594"/>
              <a:gd name="connsiteX1193" fmla="*/ 1065090 w 2606154"/>
              <a:gd name="connsiteY1193" fmla="*/ 1624804 h 3979594"/>
              <a:gd name="connsiteX1194" fmla="*/ 1042788 w 2606154"/>
              <a:gd name="connsiteY1194" fmla="*/ 1636308 h 3979594"/>
              <a:gd name="connsiteX1195" fmla="*/ 1068858 w 2606154"/>
              <a:gd name="connsiteY1195" fmla="*/ 1817939 h 3979594"/>
              <a:gd name="connsiteX1196" fmla="*/ 1049305 w 2606154"/>
              <a:gd name="connsiteY1196" fmla="*/ 1818754 h 3979594"/>
              <a:gd name="connsiteX1197" fmla="*/ 1026494 w 2606154"/>
              <a:gd name="connsiteY1197" fmla="*/ 1659114 h 3979594"/>
              <a:gd name="connsiteX1198" fmla="*/ 979243 w 2606154"/>
              <a:gd name="connsiteY1198" fmla="*/ 1731604 h 3979594"/>
              <a:gd name="connsiteX1199" fmla="*/ 1018347 w 2606154"/>
              <a:gd name="connsiteY1199" fmla="*/ 1817939 h 3979594"/>
              <a:gd name="connsiteX1200" fmla="*/ 1012645 w 2606154"/>
              <a:gd name="connsiteY1200" fmla="*/ 1819568 h 3979594"/>
              <a:gd name="connsiteX1201" fmla="*/ 1011830 w 2606154"/>
              <a:gd name="connsiteY1201" fmla="*/ 1870881 h 3979594"/>
              <a:gd name="connsiteX1202" fmla="*/ 1020792 w 2606154"/>
              <a:gd name="connsiteY1202" fmla="*/ 1873325 h 3979594"/>
              <a:gd name="connsiteX1203" fmla="*/ 993907 w 2606154"/>
              <a:gd name="connsiteY1203" fmla="*/ 1942556 h 3979594"/>
              <a:gd name="connsiteX1204" fmla="*/ 1027309 w 2606154"/>
              <a:gd name="connsiteY1204" fmla="*/ 1956402 h 3979594"/>
              <a:gd name="connsiteX1205" fmla="*/ 1020792 w 2606154"/>
              <a:gd name="connsiteY1205" fmla="*/ 1980837 h 3979594"/>
              <a:gd name="connsiteX1206" fmla="*/ 1100630 w 2606154"/>
              <a:gd name="connsiteY1206" fmla="*/ 1990611 h 3979594"/>
              <a:gd name="connsiteX1207" fmla="*/ 1179654 w 2606154"/>
              <a:gd name="connsiteY1207" fmla="*/ 1980023 h 3979594"/>
              <a:gd name="connsiteX1208" fmla="*/ 1173136 w 2606154"/>
              <a:gd name="connsiteY1208" fmla="*/ 1956402 h 3979594"/>
              <a:gd name="connsiteX1209" fmla="*/ 1206538 w 2606154"/>
              <a:gd name="connsiteY1209" fmla="*/ 1942556 h 3979594"/>
              <a:gd name="connsiteX1210" fmla="*/ 1179654 w 2606154"/>
              <a:gd name="connsiteY1210" fmla="*/ 1873325 h 3979594"/>
              <a:gd name="connsiteX1211" fmla="*/ 1188615 w 2606154"/>
              <a:gd name="connsiteY1211" fmla="*/ 1870067 h 3979594"/>
              <a:gd name="connsiteX1212" fmla="*/ 1187801 w 2606154"/>
              <a:gd name="connsiteY1212" fmla="*/ 1818754 h 3979594"/>
              <a:gd name="connsiteX1213" fmla="*/ 1182098 w 2606154"/>
              <a:gd name="connsiteY1213" fmla="*/ 1817125 h 3979594"/>
              <a:gd name="connsiteX1214" fmla="*/ 1221202 w 2606154"/>
              <a:gd name="connsiteY1214" fmla="*/ 1730789 h 3979594"/>
              <a:gd name="connsiteX1215" fmla="*/ 1177210 w 2606154"/>
              <a:gd name="connsiteY1215" fmla="*/ 1658300 h 3979594"/>
              <a:gd name="connsiteX1216" fmla="*/ 1154399 w 2606154"/>
              <a:gd name="connsiteY1216" fmla="*/ 1815496 h 3979594"/>
              <a:gd name="connsiteX1217" fmla="*/ 1134847 w 2606154"/>
              <a:gd name="connsiteY1217" fmla="*/ 1814681 h 3979594"/>
              <a:gd name="connsiteX1218" fmla="*/ 1160101 w 2606154"/>
              <a:gd name="connsiteY1218" fmla="*/ 1639566 h 3979594"/>
              <a:gd name="connsiteX1219" fmla="*/ 1108777 w 2606154"/>
              <a:gd name="connsiteY1219" fmla="*/ 1628163 h 3979594"/>
              <a:gd name="connsiteX1220" fmla="*/ 1108777 w 2606154"/>
              <a:gd name="connsiteY1220" fmla="*/ 1810609 h 3979594"/>
              <a:gd name="connsiteX1221" fmla="*/ 1089225 w 2606154"/>
              <a:gd name="connsiteY1221" fmla="*/ 1810609 h 3979594"/>
              <a:gd name="connsiteX1222" fmla="*/ 1089225 w 2606154"/>
              <a:gd name="connsiteY1222" fmla="*/ 1627349 h 3979594"/>
              <a:gd name="connsiteX1223" fmla="*/ 1065090 w 2606154"/>
              <a:gd name="connsiteY1223" fmla="*/ 1624804 h 3979594"/>
              <a:gd name="connsiteX1224" fmla="*/ 1747484 w 2606154"/>
              <a:gd name="connsiteY1224" fmla="*/ 1597213 h 3979594"/>
              <a:gd name="connsiteX1225" fmla="*/ 1877832 w 2606154"/>
              <a:gd name="connsiteY1225" fmla="*/ 1833415 h 3979594"/>
              <a:gd name="connsiteX1226" fmla="*/ 1899829 w 2606154"/>
              <a:gd name="connsiteY1226" fmla="*/ 1675404 h 3979594"/>
              <a:gd name="connsiteX1227" fmla="*/ 1915308 w 2606154"/>
              <a:gd name="connsiteY1227" fmla="*/ 1686807 h 3979594"/>
              <a:gd name="connsiteX1228" fmla="*/ 1958486 w 2606154"/>
              <a:gd name="connsiteY1228" fmla="*/ 1791061 h 3979594"/>
              <a:gd name="connsiteX1229" fmla="*/ 1904717 w 2606154"/>
              <a:gd name="connsiteY1229" fmla="*/ 1901832 h 3979594"/>
              <a:gd name="connsiteX1230" fmla="*/ 1848504 w 2606154"/>
              <a:gd name="connsiteY1230" fmla="*/ 1901017 h 3979594"/>
              <a:gd name="connsiteX1231" fmla="*/ 1750743 w 2606154"/>
              <a:gd name="connsiteY1231" fmla="*/ 1685992 h 3979594"/>
              <a:gd name="connsiteX1232" fmla="*/ 633005 w 2606154"/>
              <a:gd name="connsiteY1232" fmla="*/ 1596398 h 3979594"/>
              <a:gd name="connsiteX1233" fmla="*/ 630561 w 2606154"/>
              <a:gd name="connsiteY1233" fmla="*/ 1879026 h 3979594"/>
              <a:gd name="connsiteX1234" fmla="*/ 756021 w 2606154"/>
              <a:gd name="connsiteY1234" fmla="*/ 1968619 h 3979594"/>
              <a:gd name="connsiteX1235" fmla="*/ 808160 w 2606154"/>
              <a:gd name="connsiteY1235" fmla="*/ 2073689 h 3979594"/>
              <a:gd name="connsiteX1236" fmla="*/ 713658 w 2606154"/>
              <a:gd name="connsiteY1236" fmla="*/ 2078576 h 3979594"/>
              <a:gd name="connsiteX1237" fmla="*/ 680256 w 2606154"/>
              <a:gd name="connsiteY1237" fmla="*/ 2017489 h 3979594"/>
              <a:gd name="connsiteX1238" fmla="*/ 653372 w 2606154"/>
              <a:gd name="connsiteY1238" fmla="*/ 2022376 h 3979594"/>
              <a:gd name="connsiteX1239" fmla="*/ 518135 w 2606154"/>
              <a:gd name="connsiteY1239" fmla="*/ 1904275 h 3979594"/>
              <a:gd name="connsiteX1240" fmla="*/ 554796 w 2606154"/>
              <a:gd name="connsiteY1240" fmla="*/ 1680290 h 3979594"/>
              <a:gd name="connsiteX1241" fmla="*/ 633005 w 2606154"/>
              <a:gd name="connsiteY1241" fmla="*/ 1596398 h 3979594"/>
              <a:gd name="connsiteX1242" fmla="*/ 1325481 w 2606154"/>
              <a:gd name="connsiteY1242" fmla="*/ 1575222 h 3979594"/>
              <a:gd name="connsiteX1243" fmla="*/ 1702677 w 2606154"/>
              <a:gd name="connsiteY1243" fmla="*/ 1575222 h 3979594"/>
              <a:gd name="connsiteX1244" fmla="*/ 1702677 w 2606154"/>
              <a:gd name="connsiteY1244" fmla="*/ 1672961 h 3979594"/>
              <a:gd name="connsiteX1245" fmla="*/ 1654611 w 2606154"/>
              <a:gd name="connsiteY1245" fmla="*/ 1878212 h 3979594"/>
              <a:gd name="connsiteX1246" fmla="*/ 1578031 w 2606154"/>
              <a:gd name="connsiteY1246" fmla="*/ 1813053 h 3979594"/>
              <a:gd name="connsiteX1247" fmla="*/ 1578031 w 2606154"/>
              <a:gd name="connsiteY1247" fmla="*/ 1760111 h 3979594"/>
              <a:gd name="connsiteX1248" fmla="*/ 1578031 w 2606154"/>
              <a:gd name="connsiteY1248" fmla="*/ 1747079 h 3979594"/>
              <a:gd name="connsiteX1249" fmla="*/ 1564996 w 2606154"/>
              <a:gd name="connsiteY1249" fmla="*/ 1747079 h 3979594"/>
              <a:gd name="connsiteX1250" fmla="*/ 1548703 w 2606154"/>
              <a:gd name="connsiteY1250" fmla="*/ 1747079 h 3979594"/>
              <a:gd name="connsiteX1251" fmla="*/ 1499007 w 2606154"/>
              <a:gd name="connsiteY1251" fmla="*/ 1598028 h 3979594"/>
              <a:gd name="connsiteX1252" fmla="*/ 1490046 w 2606154"/>
              <a:gd name="connsiteY1252" fmla="*/ 1588254 h 3979594"/>
              <a:gd name="connsiteX1253" fmla="*/ 1481085 w 2606154"/>
              <a:gd name="connsiteY1253" fmla="*/ 1598028 h 3979594"/>
              <a:gd name="connsiteX1254" fmla="*/ 1432204 w 2606154"/>
              <a:gd name="connsiteY1254" fmla="*/ 1747894 h 3979594"/>
              <a:gd name="connsiteX1255" fmla="*/ 1415910 w 2606154"/>
              <a:gd name="connsiteY1255" fmla="*/ 1747894 h 3979594"/>
              <a:gd name="connsiteX1256" fmla="*/ 1402875 w 2606154"/>
              <a:gd name="connsiteY1256" fmla="*/ 1747894 h 3979594"/>
              <a:gd name="connsiteX1257" fmla="*/ 1402875 w 2606154"/>
              <a:gd name="connsiteY1257" fmla="*/ 1760925 h 3979594"/>
              <a:gd name="connsiteX1258" fmla="*/ 1402875 w 2606154"/>
              <a:gd name="connsiteY1258" fmla="*/ 1809795 h 3979594"/>
              <a:gd name="connsiteX1259" fmla="*/ 1325481 w 2606154"/>
              <a:gd name="connsiteY1259" fmla="*/ 1852963 h 3979594"/>
              <a:gd name="connsiteX1260" fmla="*/ 962949 w 2606154"/>
              <a:gd name="connsiteY1260" fmla="*/ 1574407 h 3979594"/>
              <a:gd name="connsiteX1261" fmla="*/ 1248902 w 2606154"/>
              <a:gd name="connsiteY1261" fmla="*/ 1574407 h 3979594"/>
              <a:gd name="connsiteX1262" fmla="*/ 1248902 w 2606154"/>
              <a:gd name="connsiteY1262" fmla="*/ 2162468 h 3979594"/>
              <a:gd name="connsiteX1263" fmla="*/ 887999 w 2606154"/>
              <a:gd name="connsiteY1263" fmla="*/ 1789432 h 3979594"/>
              <a:gd name="connsiteX1264" fmla="*/ 935250 w 2606154"/>
              <a:gd name="connsiteY1264" fmla="*/ 1721015 h 3979594"/>
              <a:gd name="connsiteX1265" fmla="*/ 962949 w 2606154"/>
              <a:gd name="connsiteY1265" fmla="*/ 1574407 h 3979594"/>
              <a:gd name="connsiteX1266" fmla="*/ 1414332 w 2606154"/>
              <a:gd name="connsiteY1266" fmla="*/ 1376818 h 3979594"/>
              <a:gd name="connsiteX1267" fmla="*/ 1389026 w 2606154"/>
              <a:gd name="connsiteY1267" fmla="*/ 1385447 h 3979594"/>
              <a:gd name="connsiteX1268" fmla="*/ 1323037 w 2606154"/>
              <a:gd name="connsiteY1268" fmla="*/ 1453049 h 3979594"/>
              <a:gd name="connsiteX1269" fmla="*/ 1565811 w 2606154"/>
              <a:gd name="connsiteY1269" fmla="*/ 1453864 h 3979594"/>
              <a:gd name="connsiteX1270" fmla="*/ 1454200 w 2606154"/>
              <a:gd name="connsiteY1270" fmla="*/ 1383003 h 3979594"/>
              <a:gd name="connsiteX1271" fmla="*/ 1414332 w 2606154"/>
              <a:gd name="connsiteY1271" fmla="*/ 1376818 h 3979594"/>
              <a:gd name="connsiteX1272" fmla="*/ 1212355 w 2606154"/>
              <a:gd name="connsiteY1272" fmla="*/ 1366026 h 3979594"/>
              <a:gd name="connsiteX1273" fmla="*/ 1153584 w 2606154"/>
              <a:gd name="connsiteY1273" fmla="*/ 1381375 h 3979594"/>
              <a:gd name="connsiteX1274" fmla="*/ 1138920 w 2606154"/>
              <a:gd name="connsiteY1274" fmla="*/ 1409881 h 3979594"/>
              <a:gd name="connsiteX1275" fmla="*/ 1146252 w 2606154"/>
              <a:gd name="connsiteY1275" fmla="*/ 1447348 h 3979594"/>
              <a:gd name="connsiteX1276" fmla="*/ 1230979 w 2606154"/>
              <a:gd name="connsiteY1276" fmla="*/ 1440832 h 3979594"/>
              <a:gd name="connsiteX1277" fmla="*/ 1226905 w 2606154"/>
              <a:gd name="connsiteY1277" fmla="*/ 1370786 h 3979594"/>
              <a:gd name="connsiteX1278" fmla="*/ 1212355 w 2606154"/>
              <a:gd name="connsiteY1278" fmla="*/ 1366026 h 3979594"/>
              <a:gd name="connsiteX1279" fmla="*/ 1557665 w 2606154"/>
              <a:gd name="connsiteY1279" fmla="*/ 1287708 h 3979594"/>
              <a:gd name="connsiteX1280" fmla="*/ 1495749 w 2606154"/>
              <a:gd name="connsiteY1280" fmla="*/ 1400922 h 3979594"/>
              <a:gd name="connsiteX1281" fmla="*/ 1597584 w 2606154"/>
              <a:gd name="connsiteY1281" fmla="*/ 1425357 h 3979594"/>
              <a:gd name="connsiteX1282" fmla="*/ 1560923 w 2606154"/>
              <a:gd name="connsiteY1282" fmla="*/ 1383003 h 3979594"/>
              <a:gd name="connsiteX1283" fmla="*/ 1527521 w 2606154"/>
              <a:gd name="connsiteY1283" fmla="*/ 1334134 h 3979594"/>
              <a:gd name="connsiteX1284" fmla="*/ 1573958 w 2606154"/>
              <a:gd name="connsiteY1284" fmla="*/ 1352867 h 3979594"/>
              <a:gd name="connsiteX1285" fmla="*/ 1665202 w 2606154"/>
              <a:gd name="connsiteY1285" fmla="*/ 1414768 h 3979594"/>
              <a:gd name="connsiteX1286" fmla="*/ 1667646 w 2606154"/>
              <a:gd name="connsiteY1286" fmla="*/ 1400922 h 3979594"/>
              <a:gd name="connsiteX1287" fmla="*/ 1604916 w 2606154"/>
              <a:gd name="connsiteY1287" fmla="*/ 1342279 h 3979594"/>
              <a:gd name="connsiteX1288" fmla="*/ 1557665 w 2606154"/>
              <a:gd name="connsiteY1288" fmla="*/ 1287708 h 3979594"/>
              <a:gd name="connsiteX1289" fmla="*/ 1429760 w 2606154"/>
              <a:gd name="connsiteY1289" fmla="*/ 1232323 h 3979594"/>
              <a:gd name="connsiteX1290" fmla="*/ 1335257 w 2606154"/>
              <a:gd name="connsiteY1290" fmla="*/ 1330061 h 3979594"/>
              <a:gd name="connsiteX1291" fmla="*/ 1363771 w 2606154"/>
              <a:gd name="connsiteY1291" fmla="*/ 1372415 h 3979594"/>
              <a:gd name="connsiteX1292" fmla="*/ 1450942 w 2606154"/>
              <a:gd name="connsiteY1292" fmla="*/ 1356125 h 3979594"/>
              <a:gd name="connsiteX1293" fmla="*/ 1468865 w 2606154"/>
              <a:gd name="connsiteY1293" fmla="*/ 1269789 h 3979594"/>
              <a:gd name="connsiteX1294" fmla="*/ 1429760 w 2606154"/>
              <a:gd name="connsiteY1294" fmla="*/ 1232323 h 3979594"/>
              <a:gd name="connsiteX1295" fmla="*/ 1116822 w 2606154"/>
              <a:gd name="connsiteY1295" fmla="*/ 1183657 h 3979594"/>
              <a:gd name="connsiteX1296" fmla="*/ 1059896 w 2606154"/>
              <a:gd name="connsiteY1296" fmla="*/ 1198928 h 3979594"/>
              <a:gd name="connsiteX1297" fmla="*/ 1038715 w 2606154"/>
              <a:gd name="connsiteY1297" fmla="*/ 1278749 h 3979594"/>
              <a:gd name="connsiteX1298" fmla="*/ 949100 w 2606154"/>
              <a:gd name="connsiteY1298" fmla="*/ 1226621 h 3979594"/>
              <a:gd name="connsiteX1299" fmla="*/ 1018348 w 2606154"/>
              <a:gd name="connsiteY1299" fmla="*/ 1318659 h 3979594"/>
              <a:gd name="connsiteX1300" fmla="*/ 1113665 w 2606154"/>
              <a:gd name="connsiteY1300" fmla="*/ 1392777 h 3979594"/>
              <a:gd name="connsiteX1301" fmla="*/ 1132403 w 2606154"/>
              <a:gd name="connsiteY1301" fmla="*/ 1361012 h 3979594"/>
              <a:gd name="connsiteX1302" fmla="*/ 1215500 w 2606154"/>
              <a:gd name="connsiteY1302" fmla="*/ 1339836 h 3979594"/>
              <a:gd name="connsiteX1303" fmla="*/ 1159287 w 2606154"/>
              <a:gd name="connsiteY1303" fmla="*/ 1255943 h 3979594"/>
              <a:gd name="connsiteX1304" fmla="*/ 1146252 w 2606154"/>
              <a:gd name="connsiteY1304" fmla="*/ 1194042 h 3979594"/>
              <a:gd name="connsiteX1305" fmla="*/ 1116822 w 2606154"/>
              <a:gd name="connsiteY1305" fmla="*/ 1183657 h 3979594"/>
              <a:gd name="connsiteX1306" fmla="*/ 1503896 w 2606154"/>
              <a:gd name="connsiteY1306" fmla="*/ 1177752 h 3979594"/>
              <a:gd name="connsiteX1307" fmla="*/ 1451756 w 2606154"/>
              <a:gd name="connsiteY1307" fmla="*/ 1222549 h 3979594"/>
              <a:gd name="connsiteX1308" fmla="*/ 1479455 w 2606154"/>
              <a:gd name="connsiteY1308" fmla="*/ 1246984 h 3979594"/>
              <a:gd name="connsiteX1309" fmla="*/ 1568255 w 2606154"/>
              <a:gd name="connsiteY1309" fmla="*/ 1197300 h 3979594"/>
              <a:gd name="connsiteX1310" fmla="*/ 1503896 w 2606154"/>
              <a:gd name="connsiteY1310" fmla="*/ 1177752 h 3979594"/>
              <a:gd name="connsiteX1311" fmla="*/ 1231488 w 2606154"/>
              <a:gd name="connsiteY1311" fmla="*/ 1174493 h 3979594"/>
              <a:gd name="connsiteX1312" fmla="*/ 1215500 w 2606154"/>
              <a:gd name="connsiteY1312" fmla="*/ 1178566 h 3979594"/>
              <a:gd name="connsiteX1313" fmla="*/ 1168248 w 2606154"/>
              <a:gd name="connsiteY1313" fmla="*/ 1195671 h 3979594"/>
              <a:gd name="connsiteX1314" fmla="*/ 1178025 w 2606154"/>
              <a:gd name="connsiteY1314" fmla="*/ 1242097 h 3979594"/>
              <a:gd name="connsiteX1315" fmla="*/ 1228535 w 2606154"/>
              <a:gd name="connsiteY1315" fmla="*/ 1199744 h 3979594"/>
              <a:gd name="connsiteX1316" fmla="*/ 1231488 w 2606154"/>
              <a:gd name="connsiteY1316" fmla="*/ 1174493 h 3979594"/>
              <a:gd name="connsiteX1317" fmla="*/ 948858 w 2606154"/>
              <a:gd name="connsiteY1317" fmla="*/ 1162429 h 3979594"/>
              <a:gd name="connsiteX1318" fmla="*/ 962950 w 2606154"/>
              <a:gd name="connsiteY1318" fmla="*/ 1201372 h 3979594"/>
              <a:gd name="connsiteX1319" fmla="*/ 1028124 w 2606154"/>
              <a:gd name="connsiteY1319" fmla="*/ 1243725 h 3979594"/>
              <a:gd name="connsiteX1320" fmla="*/ 1037085 w 2606154"/>
              <a:gd name="connsiteY1320" fmla="*/ 1200558 h 3979594"/>
              <a:gd name="connsiteX1321" fmla="*/ 971911 w 2606154"/>
              <a:gd name="connsiteY1321" fmla="*/ 1174494 h 3979594"/>
              <a:gd name="connsiteX1322" fmla="*/ 948858 w 2606154"/>
              <a:gd name="connsiteY1322" fmla="*/ 1162429 h 3979594"/>
              <a:gd name="connsiteX1323" fmla="*/ 873335 w 2606154"/>
              <a:gd name="connsiteY1323" fmla="*/ 1132955 h 3979594"/>
              <a:gd name="connsiteX1324" fmla="*/ 1286377 w 2606154"/>
              <a:gd name="connsiteY1324" fmla="*/ 1132955 h 3979594"/>
              <a:gd name="connsiteX1325" fmla="*/ 1291265 w 2606154"/>
              <a:gd name="connsiteY1325" fmla="*/ 1132955 h 3979594"/>
              <a:gd name="connsiteX1326" fmla="*/ 1704307 w 2606154"/>
              <a:gd name="connsiteY1326" fmla="*/ 1132955 h 3979594"/>
              <a:gd name="connsiteX1327" fmla="*/ 1704307 w 2606154"/>
              <a:gd name="connsiteY1327" fmla="*/ 1212775 h 3979594"/>
              <a:gd name="connsiteX1328" fmla="*/ 1682310 w 2606154"/>
              <a:gd name="connsiteY1328" fmla="*/ 1292595 h 3979594"/>
              <a:gd name="connsiteX1329" fmla="*/ 1657870 w 2606154"/>
              <a:gd name="connsiteY1329" fmla="*/ 1247798 h 3979594"/>
              <a:gd name="connsiteX1330" fmla="*/ 1506340 w 2606154"/>
              <a:gd name="connsiteY1330" fmla="*/ 1244540 h 3979594"/>
              <a:gd name="connsiteX1331" fmla="*/ 1477826 w 2606154"/>
              <a:gd name="connsiteY1331" fmla="*/ 1294224 h 3979594"/>
              <a:gd name="connsiteX1332" fmla="*/ 1488417 w 2606154"/>
              <a:gd name="connsiteY1332" fmla="*/ 1281192 h 3979594"/>
              <a:gd name="connsiteX1333" fmla="*/ 1609804 w 2606154"/>
              <a:gd name="connsiteY1333" fmla="*/ 1288522 h 3979594"/>
              <a:gd name="connsiteX1334" fmla="*/ 1640762 w 2606154"/>
              <a:gd name="connsiteY1334" fmla="*/ 1354496 h 3979594"/>
              <a:gd name="connsiteX1335" fmla="*/ 1660314 w 2606154"/>
              <a:gd name="connsiteY1335" fmla="*/ 1382189 h 3979594"/>
              <a:gd name="connsiteX1336" fmla="*/ 1683940 w 2606154"/>
              <a:gd name="connsiteY1336" fmla="*/ 1339836 h 3979594"/>
              <a:gd name="connsiteX1337" fmla="*/ 1704307 w 2606154"/>
              <a:gd name="connsiteY1337" fmla="*/ 1434316 h 3979594"/>
              <a:gd name="connsiteX1338" fmla="*/ 1705121 w 2606154"/>
              <a:gd name="connsiteY1338" fmla="*/ 1434316 h 3979594"/>
              <a:gd name="connsiteX1339" fmla="*/ 1705121 w 2606154"/>
              <a:gd name="connsiteY1339" fmla="*/ 1495403 h 3979594"/>
              <a:gd name="connsiteX1340" fmla="*/ 961320 w 2606154"/>
              <a:gd name="connsiteY1340" fmla="*/ 1495403 h 3979594"/>
              <a:gd name="connsiteX1341" fmla="*/ 958876 w 2606154"/>
              <a:gd name="connsiteY1341" fmla="*/ 1457936 h 3979594"/>
              <a:gd name="connsiteX1342" fmla="*/ 1022421 w 2606154"/>
              <a:gd name="connsiteY1342" fmla="*/ 1446533 h 3979594"/>
              <a:gd name="connsiteX1343" fmla="*/ 1123441 w 2606154"/>
              <a:gd name="connsiteY1343" fmla="*/ 1444904 h 3979594"/>
              <a:gd name="connsiteX1344" fmla="*/ 1116924 w 2606154"/>
              <a:gd name="connsiteY1344" fmla="*/ 1418841 h 3979594"/>
              <a:gd name="connsiteX1345" fmla="*/ 999610 w 2606154"/>
              <a:gd name="connsiteY1345" fmla="*/ 1337392 h 3979594"/>
              <a:gd name="connsiteX1346" fmla="*/ 952359 w 2606154"/>
              <a:gd name="connsiteY1346" fmla="*/ 1315401 h 3979594"/>
              <a:gd name="connsiteX1347" fmla="*/ 953173 w 2606154"/>
              <a:gd name="connsiteY1347" fmla="*/ 1419655 h 3979594"/>
              <a:gd name="connsiteX1348" fmla="*/ 899405 w 2606154"/>
              <a:gd name="connsiteY1348" fmla="*/ 1361826 h 3979594"/>
              <a:gd name="connsiteX1349" fmla="*/ 873335 w 2606154"/>
              <a:gd name="connsiteY1349" fmla="*/ 1336577 h 3979594"/>
              <a:gd name="connsiteX1350" fmla="*/ 829342 w 2606154"/>
              <a:gd name="connsiteY1350" fmla="*/ 1132139 h 3979594"/>
              <a:gd name="connsiteX1351" fmla="*/ 830157 w 2606154"/>
              <a:gd name="connsiteY1351" fmla="*/ 1220918 h 3979594"/>
              <a:gd name="connsiteX1352" fmla="*/ 791867 w 2606154"/>
              <a:gd name="connsiteY1352" fmla="*/ 1264901 h 3979594"/>
              <a:gd name="connsiteX1353" fmla="*/ 775574 w 2606154"/>
              <a:gd name="connsiteY1353" fmla="*/ 1286892 h 3979594"/>
              <a:gd name="connsiteX1354" fmla="*/ 773944 w 2606154"/>
              <a:gd name="connsiteY1354" fmla="*/ 1284448 h 3979594"/>
              <a:gd name="connsiteX1355" fmla="*/ 754392 w 2606154"/>
              <a:gd name="connsiteY1355" fmla="*/ 1210330 h 3979594"/>
              <a:gd name="connsiteX1356" fmla="*/ 720990 w 2606154"/>
              <a:gd name="connsiteY1356" fmla="*/ 1181008 h 3979594"/>
              <a:gd name="connsiteX1357" fmla="*/ 747060 w 2606154"/>
              <a:gd name="connsiteY1357" fmla="*/ 1168791 h 3979594"/>
              <a:gd name="connsiteX1358" fmla="*/ 810605 w 2606154"/>
              <a:gd name="connsiteY1358" fmla="*/ 1141913 h 3979594"/>
              <a:gd name="connsiteX1359" fmla="*/ 829342 w 2606154"/>
              <a:gd name="connsiteY1359" fmla="*/ 1132139 h 3979594"/>
              <a:gd name="connsiteX1360" fmla="*/ 366605 w 2606154"/>
              <a:gd name="connsiteY1360" fmla="*/ 1108519 h 3979594"/>
              <a:gd name="connsiteX1361" fmla="*/ 527097 w 2606154"/>
              <a:gd name="connsiteY1361" fmla="*/ 1132139 h 3979594"/>
              <a:gd name="connsiteX1362" fmla="*/ 559684 w 2606154"/>
              <a:gd name="connsiteY1362" fmla="*/ 1116664 h 3979594"/>
              <a:gd name="connsiteX1363" fmla="*/ 619970 w 2606154"/>
              <a:gd name="connsiteY1363" fmla="*/ 1159832 h 3979594"/>
              <a:gd name="connsiteX1364" fmla="*/ 719361 w 2606154"/>
              <a:gd name="connsiteY1364" fmla="*/ 1230692 h 3979594"/>
              <a:gd name="connsiteX1365" fmla="*/ 737284 w 2606154"/>
              <a:gd name="connsiteY1365" fmla="*/ 1299924 h 3979594"/>
              <a:gd name="connsiteX1366" fmla="*/ 827713 w 2606154"/>
              <a:gd name="connsiteY1366" fmla="*/ 1385445 h 3979594"/>
              <a:gd name="connsiteX1367" fmla="*/ 912440 w 2606154"/>
              <a:gd name="connsiteY1367" fmla="*/ 1449790 h 3979594"/>
              <a:gd name="connsiteX1368" fmla="*/ 895331 w 2606154"/>
              <a:gd name="connsiteY1368" fmla="*/ 1712055 h 3979594"/>
              <a:gd name="connsiteX1369" fmla="*/ 848080 w 2606154"/>
              <a:gd name="connsiteY1369" fmla="*/ 1782102 h 3979594"/>
              <a:gd name="connsiteX1370" fmla="*/ 847265 w 2606154"/>
              <a:gd name="connsiteY1370" fmla="*/ 1645267 h 3979594"/>
              <a:gd name="connsiteX1371" fmla="*/ 834231 w 2606154"/>
              <a:gd name="connsiteY1371" fmla="*/ 1630606 h 3979594"/>
              <a:gd name="connsiteX1372" fmla="*/ 850524 w 2606154"/>
              <a:gd name="connsiteY1372" fmla="*/ 1564633 h 3979594"/>
              <a:gd name="connsiteX1373" fmla="*/ 790238 w 2606154"/>
              <a:gd name="connsiteY1373" fmla="*/ 1450605 h 3979594"/>
              <a:gd name="connsiteX1374" fmla="*/ 707956 w 2606154"/>
              <a:gd name="connsiteY1374" fmla="*/ 1407436 h 3979594"/>
              <a:gd name="connsiteX1375" fmla="*/ 515691 w 2606154"/>
              <a:gd name="connsiteY1375" fmla="*/ 1663186 h 3979594"/>
              <a:gd name="connsiteX1376" fmla="*/ 362532 w 2606154"/>
              <a:gd name="connsiteY1376" fmla="*/ 1943371 h 3979594"/>
              <a:gd name="connsiteX1377" fmla="*/ 357644 w 2606154"/>
              <a:gd name="connsiteY1377" fmla="*/ 2100567 h 3979594"/>
              <a:gd name="connsiteX1378" fmla="*/ 445629 w 2606154"/>
              <a:gd name="connsiteY1378" fmla="*/ 2238216 h 3979594"/>
              <a:gd name="connsiteX1379" fmla="*/ 338906 w 2606154"/>
              <a:gd name="connsiteY1379" fmla="*/ 2238216 h 3979594"/>
              <a:gd name="connsiteX1380" fmla="*/ 316910 w 2606154"/>
              <a:gd name="connsiteY1380" fmla="*/ 2163283 h 3979594"/>
              <a:gd name="connsiteX1381" fmla="*/ 297358 w 2606154"/>
              <a:gd name="connsiteY1381" fmla="*/ 2159210 h 3979594"/>
              <a:gd name="connsiteX1382" fmla="*/ 280250 w 2606154"/>
              <a:gd name="connsiteY1382" fmla="*/ 1964547 h 3979594"/>
              <a:gd name="connsiteX1383" fmla="*/ 308763 w 2606154"/>
              <a:gd name="connsiteY1383" fmla="*/ 1917307 h 3979594"/>
              <a:gd name="connsiteX1384" fmla="*/ 330760 w 2606154"/>
              <a:gd name="connsiteY1384" fmla="*/ 1830971 h 3979594"/>
              <a:gd name="connsiteX1385" fmla="*/ 328316 w 2606154"/>
              <a:gd name="connsiteY1385" fmla="*/ 1787803 h 3979594"/>
              <a:gd name="connsiteX1386" fmla="*/ 325057 w 2606154"/>
              <a:gd name="connsiteY1386" fmla="*/ 1739748 h 3979594"/>
              <a:gd name="connsiteX1387" fmla="*/ 241145 w 2606154"/>
              <a:gd name="connsiteY1387" fmla="*/ 1747079 h 3979594"/>
              <a:gd name="connsiteX1388" fmla="*/ 289211 w 2606154"/>
              <a:gd name="connsiteY1388" fmla="*/ 1677032 h 3979594"/>
              <a:gd name="connsiteX1389" fmla="*/ 364161 w 2606154"/>
              <a:gd name="connsiteY1389" fmla="*/ 1530424 h 3979594"/>
              <a:gd name="connsiteX1390" fmla="*/ 441556 w 2606154"/>
              <a:gd name="connsiteY1390" fmla="*/ 1356938 h 3979594"/>
              <a:gd name="connsiteX1391" fmla="*/ 376382 w 2606154"/>
              <a:gd name="connsiteY1391" fmla="*/ 1189968 h 3979594"/>
              <a:gd name="connsiteX1392" fmla="*/ 366605 w 2606154"/>
              <a:gd name="connsiteY1392" fmla="*/ 1108519 h 3979594"/>
              <a:gd name="connsiteX1393" fmla="*/ 458969 w 2606154"/>
              <a:gd name="connsiteY1393" fmla="*/ 905000 h 3979594"/>
              <a:gd name="connsiteX1394" fmla="*/ 526282 w 2606154"/>
              <a:gd name="connsiteY1394" fmla="*/ 926890 h 3979594"/>
              <a:gd name="connsiteX1395" fmla="*/ 659889 w 2606154"/>
              <a:gd name="connsiteY1395" fmla="*/ 1005895 h 3979594"/>
              <a:gd name="connsiteX1396" fmla="*/ 585753 w 2606154"/>
              <a:gd name="connsiteY1396" fmla="*/ 1068611 h 3979594"/>
              <a:gd name="connsiteX1397" fmla="*/ 497768 w 2606154"/>
              <a:gd name="connsiteY1397" fmla="*/ 1086530 h 3979594"/>
              <a:gd name="connsiteX1398" fmla="*/ 373122 w 2606154"/>
              <a:gd name="connsiteY1398" fmla="*/ 1026258 h 3979594"/>
              <a:gd name="connsiteX1399" fmla="*/ 281063 w 2606154"/>
              <a:gd name="connsiteY1399" fmla="*/ 979832 h 3979594"/>
              <a:gd name="connsiteX1400" fmla="*/ 219148 w 2606154"/>
              <a:gd name="connsiteY1400" fmla="*/ 930962 h 3979594"/>
              <a:gd name="connsiteX1401" fmla="*/ 314465 w 2606154"/>
              <a:gd name="connsiteY1401" fmla="*/ 917929 h 3979594"/>
              <a:gd name="connsiteX1402" fmla="*/ 386157 w 2606154"/>
              <a:gd name="connsiteY1402" fmla="*/ 917929 h 3979594"/>
              <a:gd name="connsiteX1403" fmla="*/ 458969 w 2606154"/>
              <a:gd name="connsiteY1403" fmla="*/ 905000 h 3979594"/>
              <a:gd name="connsiteX1404" fmla="*/ 2003729 w 2606154"/>
              <a:gd name="connsiteY1404" fmla="*/ 853271 h 3979594"/>
              <a:gd name="connsiteX1405" fmla="*/ 2118977 w 2606154"/>
              <a:gd name="connsiteY1405" fmla="*/ 954581 h 3979594"/>
              <a:gd name="connsiteX1406" fmla="*/ 1967447 w 2606154"/>
              <a:gd name="connsiteY1406" fmla="*/ 1117480 h 3979594"/>
              <a:gd name="connsiteX1407" fmla="*/ 1883536 w 2606154"/>
              <a:gd name="connsiteY1407" fmla="*/ 1252685 h 3979594"/>
              <a:gd name="connsiteX1408" fmla="*/ 2387821 w 2606154"/>
              <a:gd name="connsiteY1408" fmla="*/ 1830157 h 3979594"/>
              <a:gd name="connsiteX1409" fmla="*/ 2158082 w 2606154"/>
              <a:gd name="connsiteY1409" fmla="*/ 1716943 h 3979594"/>
              <a:gd name="connsiteX1410" fmla="*/ 1732005 w 2606154"/>
              <a:gd name="connsiteY1410" fmla="*/ 1321102 h 3979594"/>
              <a:gd name="connsiteX1411" fmla="*/ 1961745 w 2606154"/>
              <a:gd name="connsiteY1411" fmla="*/ 1049877 h 3979594"/>
              <a:gd name="connsiteX1412" fmla="*/ 1992702 w 2606154"/>
              <a:gd name="connsiteY1412" fmla="*/ 1017297 h 3979594"/>
              <a:gd name="connsiteX1413" fmla="*/ 1944636 w 2606154"/>
              <a:gd name="connsiteY1413" fmla="*/ 983089 h 3979594"/>
              <a:gd name="connsiteX1414" fmla="*/ 1747484 w 2606154"/>
              <a:gd name="connsiteY1414" fmla="*/ 999379 h 3979594"/>
              <a:gd name="connsiteX1415" fmla="*/ 1747484 w 2606154"/>
              <a:gd name="connsiteY1415" fmla="*/ 989605 h 3979594"/>
              <a:gd name="connsiteX1416" fmla="*/ 1912049 w 2606154"/>
              <a:gd name="connsiteY1416" fmla="*/ 933405 h 3979594"/>
              <a:gd name="connsiteX1417" fmla="*/ 2003729 w 2606154"/>
              <a:gd name="connsiteY1417" fmla="*/ 853271 h 3979594"/>
              <a:gd name="connsiteX1418" fmla="*/ 1204095 w 2606154"/>
              <a:gd name="connsiteY1418" fmla="*/ 842182 h 3979594"/>
              <a:gd name="connsiteX1419" fmla="*/ 1176395 w 2606154"/>
              <a:gd name="connsiteY1419" fmla="*/ 868246 h 3979594"/>
              <a:gd name="connsiteX1420" fmla="*/ 1185357 w 2606154"/>
              <a:gd name="connsiteY1420" fmla="*/ 888608 h 3979594"/>
              <a:gd name="connsiteX1421" fmla="*/ 1184542 w 2606154"/>
              <a:gd name="connsiteY1421" fmla="*/ 907341 h 3979594"/>
              <a:gd name="connsiteX1422" fmla="*/ 1180469 w 2606154"/>
              <a:gd name="connsiteY1422" fmla="*/ 908156 h 3979594"/>
              <a:gd name="connsiteX1423" fmla="*/ 1164990 w 2606154"/>
              <a:gd name="connsiteY1423" fmla="*/ 902454 h 3979594"/>
              <a:gd name="connsiteX1424" fmla="*/ 1137291 w 2606154"/>
              <a:gd name="connsiteY1424" fmla="*/ 928518 h 3979594"/>
              <a:gd name="connsiteX1425" fmla="*/ 1143808 w 2606154"/>
              <a:gd name="connsiteY1425" fmla="*/ 947251 h 3979594"/>
              <a:gd name="connsiteX1426" fmla="*/ 1161731 w 2606154"/>
              <a:gd name="connsiteY1426" fmla="*/ 954581 h 3979594"/>
              <a:gd name="connsiteX1427" fmla="*/ 1182913 w 2606154"/>
              <a:gd name="connsiteY1427" fmla="*/ 943993 h 3979594"/>
              <a:gd name="connsiteX1428" fmla="*/ 1181283 w 2606154"/>
              <a:gd name="connsiteY1428" fmla="*/ 970871 h 3979594"/>
              <a:gd name="connsiteX1429" fmla="*/ 1170693 w 2606154"/>
              <a:gd name="connsiteY1429" fmla="*/ 991233 h 3979594"/>
              <a:gd name="connsiteX1430" fmla="*/ 1177210 w 2606154"/>
              <a:gd name="connsiteY1430" fmla="*/ 1009967 h 3979594"/>
              <a:gd name="connsiteX1431" fmla="*/ 1195133 w 2606154"/>
              <a:gd name="connsiteY1431" fmla="*/ 1017297 h 3979594"/>
              <a:gd name="connsiteX1432" fmla="*/ 1213056 w 2606154"/>
              <a:gd name="connsiteY1432" fmla="*/ 1009967 h 3979594"/>
              <a:gd name="connsiteX1433" fmla="*/ 1222017 w 2606154"/>
              <a:gd name="connsiteY1433" fmla="*/ 991233 h 3979594"/>
              <a:gd name="connsiteX1434" fmla="*/ 1214685 w 2606154"/>
              <a:gd name="connsiteY1434" fmla="*/ 971686 h 3979594"/>
              <a:gd name="connsiteX1435" fmla="*/ 1216315 w 2606154"/>
              <a:gd name="connsiteY1435" fmla="*/ 938292 h 3979594"/>
              <a:gd name="connsiteX1436" fmla="*/ 1220388 w 2606154"/>
              <a:gd name="connsiteY1436" fmla="*/ 937477 h 3979594"/>
              <a:gd name="connsiteX1437" fmla="*/ 1237496 w 2606154"/>
              <a:gd name="connsiteY1437" fmla="*/ 944808 h 3979594"/>
              <a:gd name="connsiteX1438" fmla="*/ 1256234 w 2606154"/>
              <a:gd name="connsiteY1438" fmla="*/ 937477 h 3979594"/>
              <a:gd name="connsiteX1439" fmla="*/ 1265195 w 2606154"/>
              <a:gd name="connsiteY1439" fmla="*/ 918744 h 3979594"/>
              <a:gd name="connsiteX1440" fmla="*/ 1258678 w 2606154"/>
              <a:gd name="connsiteY1440" fmla="*/ 900011 h 3979594"/>
              <a:gd name="connsiteX1441" fmla="*/ 1240755 w 2606154"/>
              <a:gd name="connsiteY1441" fmla="*/ 892680 h 3979594"/>
              <a:gd name="connsiteX1442" fmla="*/ 1219573 w 2606154"/>
              <a:gd name="connsiteY1442" fmla="*/ 902454 h 3979594"/>
              <a:gd name="connsiteX1443" fmla="*/ 1217944 w 2606154"/>
              <a:gd name="connsiteY1443" fmla="*/ 902454 h 3979594"/>
              <a:gd name="connsiteX1444" fmla="*/ 1218759 w 2606154"/>
              <a:gd name="connsiteY1444" fmla="*/ 886979 h 3979594"/>
              <a:gd name="connsiteX1445" fmla="*/ 1228535 w 2606154"/>
              <a:gd name="connsiteY1445" fmla="*/ 868246 h 3979594"/>
              <a:gd name="connsiteX1446" fmla="*/ 1204095 w 2606154"/>
              <a:gd name="connsiteY1446" fmla="*/ 842182 h 3979594"/>
              <a:gd name="connsiteX1447" fmla="*/ 1371918 w 2606154"/>
              <a:gd name="connsiteY1447" fmla="*/ 841367 h 3979594"/>
              <a:gd name="connsiteX1448" fmla="*/ 1347478 w 2606154"/>
              <a:gd name="connsiteY1448" fmla="*/ 867431 h 3979594"/>
              <a:gd name="connsiteX1449" fmla="*/ 1357254 w 2606154"/>
              <a:gd name="connsiteY1449" fmla="*/ 886164 h 3979594"/>
              <a:gd name="connsiteX1450" fmla="*/ 1358069 w 2606154"/>
              <a:gd name="connsiteY1450" fmla="*/ 901640 h 3979594"/>
              <a:gd name="connsiteX1451" fmla="*/ 1356439 w 2606154"/>
              <a:gd name="connsiteY1451" fmla="*/ 901640 h 3979594"/>
              <a:gd name="connsiteX1452" fmla="*/ 1335258 w 2606154"/>
              <a:gd name="connsiteY1452" fmla="*/ 891866 h 3979594"/>
              <a:gd name="connsiteX1453" fmla="*/ 1317335 w 2606154"/>
              <a:gd name="connsiteY1453" fmla="*/ 899196 h 3979594"/>
              <a:gd name="connsiteX1454" fmla="*/ 1310817 w 2606154"/>
              <a:gd name="connsiteY1454" fmla="*/ 916301 h 3979594"/>
              <a:gd name="connsiteX1455" fmla="*/ 1319779 w 2606154"/>
              <a:gd name="connsiteY1455" fmla="*/ 935034 h 3979594"/>
              <a:gd name="connsiteX1456" fmla="*/ 1338516 w 2606154"/>
              <a:gd name="connsiteY1456" fmla="*/ 942364 h 3979594"/>
              <a:gd name="connsiteX1457" fmla="*/ 1355624 w 2606154"/>
              <a:gd name="connsiteY1457" fmla="*/ 935034 h 3979594"/>
              <a:gd name="connsiteX1458" fmla="*/ 1359698 w 2606154"/>
              <a:gd name="connsiteY1458" fmla="*/ 935848 h 3979594"/>
              <a:gd name="connsiteX1459" fmla="*/ 1361327 w 2606154"/>
              <a:gd name="connsiteY1459" fmla="*/ 969242 h 3979594"/>
              <a:gd name="connsiteX1460" fmla="*/ 1353995 w 2606154"/>
              <a:gd name="connsiteY1460" fmla="*/ 988790 h 3979594"/>
              <a:gd name="connsiteX1461" fmla="*/ 1362957 w 2606154"/>
              <a:gd name="connsiteY1461" fmla="*/ 1007523 h 3979594"/>
              <a:gd name="connsiteX1462" fmla="*/ 1381694 w 2606154"/>
              <a:gd name="connsiteY1462" fmla="*/ 1015668 h 3979594"/>
              <a:gd name="connsiteX1463" fmla="*/ 1399617 w 2606154"/>
              <a:gd name="connsiteY1463" fmla="*/ 1008338 h 3979594"/>
              <a:gd name="connsiteX1464" fmla="*/ 1406135 w 2606154"/>
              <a:gd name="connsiteY1464" fmla="*/ 989605 h 3979594"/>
              <a:gd name="connsiteX1465" fmla="*/ 1395544 w 2606154"/>
              <a:gd name="connsiteY1465" fmla="*/ 969242 h 3979594"/>
              <a:gd name="connsiteX1466" fmla="*/ 1393914 w 2606154"/>
              <a:gd name="connsiteY1466" fmla="*/ 942364 h 3979594"/>
              <a:gd name="connsiteX1467" fmla="*/ 1415096 w 2606154"/>
              <a:gd name="connsiteY1467" fmla="*/ 952953 h 3979594"/>
              <a:gd name="connsiteX1468" fmla="*/ 1433019 w 2606154"/>
              <a:gd name="connsiteY1468" fmla="*/ 945622 h 3979594"/>
              <a:gd name="connsiteX1469" fmla="*/ 1439536 w 2606154"/>
              <a:gd name="connsiteY1469" fmla="*/ 926889 h 3979594"/>
              <a:gd name="connsiteX1470" fmla="*/ 1411837 w 2606154"/>
              <a:gd name="connsiteY1470" fmla="*/ 900825 h 3979594"/>
              <a:gd name="connsiteX1471" fmla="*/ 1396358 w 2606154"/>
              <a:gd name="connsiteY1471" fmla="*/ 906527 h 3979594"/>
              <a:gd name="connsiteX1472" fmla="*/ 1392285 w 2606154"/>
              <a:gd name="connsiteY1472" fmla="*/ 905712 h 3979594"/>
              <a:gd name="connsiteX1473" fmla="*/ 1391470 w 2606154"/>
              <a:gd name="connsiteY1473" fmla="*/ 887793 h 3979594"/>
              <a:gd name="connsiteX1474" fmla="*/ 1399617 w 2606154"/>
              <a:gd name="connsiteY1474" fmla="*/ 867431 h 3979594"/>
              <a:gd name="connsiteX1475" fmla="*/ 1371918 w 2606154"/>
              <a:gd name="connsiteY1475" fmla="*/ 841367 h 3979594"/>
              <a:gd name="connsiteX1476" fmla="*/ 1349616 w 2606154"/>
              <a:gd name="connsiteY1476" fmla="*/ 762056 h 3979594"/>
              <a:gd name="connsiteX1477" fmla="*/ 1442795 w 2606154"/>
              <a:gd name="connsiteY1477" fmla="*/ 781095 h 3979594"/>
              <a:gd name="connsiteX1478" fmla="*/ 1474567 w 2606154"/>
              <a:gd name="connsiteY1478" fmla="*/ 1035216 h 3979594"/>
              <a:gd name="connsiteX1479" fmla="*/ 1418355 w 2606154"/>
              <a:gd name="connsiteY1479" fmla="*/ 1059651 h 3979594"/>
              <a:gd name="connsiteX1480" fmla="*/ 1288821 w 2606154"/>
              <a:gd name="connsiteY1480" fmla="*/ 1036845 h 3979594"/>
              <a:gd name="connsiteX1481" fmla="*/ 1160102 w 2606154"/>
              <a:gd name="connsiteY1481" fmla="*/ 1061280 h 3979594"/>
              <a:gd name="connsiteX1482" fmla="*/ 1103889 w 2606154"/>
              <a:gd name="connsiteY1482" fmla="*/ 1036845 h 3979594"/>
              <a:gd name="connsiteX1483" fmla="*/ 1134032 w 2606154"/>
              <a:gd name="connsiteY1483" fmla="*/ 782724 h 3979594"/>
              <a:gd name="connsiteX1484" fmla="*/ 1288821 w 2606154"/>
              <a:gd name="connsiteY1484" fmla="*/ 819376 h 3979594"/>
              <a:gd name="connsiteX1485" fmla="*/ 1349616 w 2606154"/>
              <a:gd name="connsiteY1485" fmla="*/ 762056 h 3979594"/>
              <a:gd name="connsiteX1486" fmla="*/ 1391470 w 2606154"/>
              <a:gd name="connsiteY1486" fmla="*/ 601093 h 3979594"/>
              <a:gd name="connsiteX1487" fmla="*/ 1363771 w 2606154"/>
              <a:gd name="connsiteY1487" fmla="*/ 628786 h 3979594"/>
              <a:gd name="connsiteX1488" fmla="*/ 1391470 w 2606154"/>
              <a:gd name="connsiteY1488" fmla="*/ 656477 h 3979594"/>
              <a:gd name="connsiteX1489" fmla="*/ 1419169 w 2606154"/>
              <a:gd name="connsiteY1489" fmla="*/ 628786 h 3979594"/>
              <a:gd name="connsiteX1490" fmla="*/ 1391470 w 2606154"/>
              <a:gd name="connsiteY1490" fmla="*/ 601093 h 3979594"/>
              <a:gd name="connsiteX1491" fmla="*/ 1186171 w 2606154"/>
              <a:gd name="connsiteY1491" fmla="*/ 601093 h 3979594"/>
              <a:gd name="connsiteX1492" fmla="*/ 1158472 w 2606154"/>
              <a:gd name="connsiteY1492" fmla="*/ 628786 h 3979594"/>
              <a:gd name="connsiteX1493" fmla="*/ 1186171 w 2606154"/>
              <a:gd name="connsiteY1493" fmla="*/ 656477 h 3979594"/>
              <a:gd name="connsiteX1494" fmla="*/ 1213870 w 2606154"/>
              <a:gd name="connsiteY1494" fmla="*/ 628786 h 3979594"/>
              <a:gd name="connsiteX1495" fmla="*/ 1186171 w 2606154"/>
              <a:gd name="connsiteY1495" fmla="*/ 601093 h 3979594"/>
              <a:gd name="connsiteX1496" fmla="*/ 2447293 w 2606154"/>
              <a:gd name="connsiteY1496" fmla="*/ 588875 h 3979594"/>
              <a:gd name="connsiteX1497" fmla="*/ 2166229 w 2606154"/>
              <a:gd name="connsiteY1497" fmla="*/ 1364270 h 3979594"/>
              <a:gd name="connsiteX1498" fmla="*/ 2044842 w 2606154"/>
              <a:gd name="connsiteY1498" fmla="*/ 1261644 h 3979594"/>
              <a:gd name="connsiteX1499" fmla="*/ 2074170 w 2606154"/>
              <a:gd name="connsiteY1499" fmla="*/ 1212774 h 3979594"/>
              <a:gd name="connsiteX1500" fmla="*/ 2088835 w 2606154"/>
              <a:gd name="connsiteY1500" fmla="*/ 1183453 h 3979594"/>
              <a:gd name="connsiteX1501" fmla="*/ 2161341 w 2606154"/>
              <a:gd name="connsiteY1501" fmla="*/ 970057 h 3979594"/>
              <a:gd name="connsiteX1502" fmla="*/ 2168673 w 2606154"/>
              <a:gd name="connsiteY1502" fmla="*/ 935034 h 3979594"/>
              <a:gd name="connsiteX1503" fmla="*/ 2447293 w 2606154"/>
              <a:gd name="connsiteY1503" fmla="*/ 588875 h 3979594"/>
              <a:gd name="connsiteX1504" fmla="*/ 1288820 w 2606154"/>
              <a:gd name="connsiteY1504" fmla="*/ 588875 h 3979594"/>
              <a:gd name="connsiteX1505" fmla="*/ 1261121 w 2606154"/>
              <a:gd name="connsiteY1505" fmla="*/ 616567 h 3979594"/>
              <a:gd name="connsiteX1506" fmla="*/ 1288820 w 2606154"/>
              <a:gd name="connsiteY1506" fmla="*/ 644260 h 3979594"/>
              <a:gd name="connsiteX1507" fmla="*/ 1316519 w 2606154"/>
              <a:gd name="connsiteY1507" fmla="*/ 616567 h 3979594"/>
              <a:gd name="connsiteX1508" fmla="*/ 1288820 w 2606154"/>
              <a:gd name="connsiteY1508" fmla="*/ 588875 h 3979594"/>
              <a:gd name="connsiteX1509" fmla="*/ 2148306 w 2606154"/>
              <a:gd name="connsiteY1509" fmla="*/ 553038 h 3979594"/>
              <a:gd name="connsiteX1510" fmla="*/ 2327535 w 2606154"/>
              <a:gd name="connsiteY1510" fmla="*/ 693130 h 3979594"/>
              <a:gd name="connsiteX1511" fmla="*/ 2178449 w 2606154"/>
              <a:gd name="connsiteY1511" fmla="*/ 872318 h 3979594"/>
              <a:gd name="connsiteX1512" fmla="*/ 2148306 w 2606154"/>
              <a:gd name="connsiteY1512" fmla="*/ 553038 h 3979594"/>
              <a:gd name="connsiteX1513" fmla="*/ 146235 w 2606154"/>
              <a:gd name="connsiteY1513" fmla="*/ 513535 h 3979594"/>
              <a:gd name="connsiteX1514" fmla="*/ 154789 w 2606154"/>
              <a:gd name="connsiteY1514" fmla="*/ 513942 h 3979594"/>
              <a:gd name="connsiteX1515" fmla="*/ 163751 w 2606154"/>
              <a:gd name="connsiteY1515" fmla="*/ 543263 h 3979594"/>
              <a:gd name="connsiteX1516" fmla="*/ 196338 w 2606154"/>
              <a:gd name="connsiteY1516" fmla="*/ 689057 h 3979594"/>
              <a:gd name="connsiteX1517" fmla="*/ 211816 w 2606154"/>
              <a:gd name="connsiteY1517" fmla="*/ 606793 h 3979594"/>
              <a:gd name="connsiteX1518" fmla="*/ 237072 w 2606154"/>
              <a:gd name="connsiteY1518" fmla="*/ 580730 h 3979594"/>
              <a:gd name="connsiteX1519" fmla="*/ 240330 w 2606154"/>
              <a:gd name="connsiteY1519" fmla="*/ 613309 h 3979594"/>
              <a:gd name="connsiteX1520" fmla="*/ 233813 w 2606154"/>
              <a:gd name="connsiteY1520" fmla="*/ 740370 h 3979594"/>
              <a:gd name="connsiteX1521" fmla="*/ 276991 w 2606154"/>
              <a:gd name="connsiteY1521" fmla="*/ 775393 h 3979594"/>
              <a:gd name="connsiteX1522" fmla="*/ 286767 w 2606154"/>
              <a:gd name="connsiteY1522" fmla="*/ 691500 h 3979594"/>
              <a:gd name="connsiteX1523" fmla="*/ 311207 w 2606154"/>
              <a:gd name="connsiteY1523" fmla="*/ 666251 h 3979594"/>
              <a:gd name="connsiteX1524" fmla="*/ 316095 w 2606154"/>
              <a:gd name="connsiteY1524" fmla="*/ 697202 h 3979594"/>
              <a:gd name="connsiteX1525" fmla="*/ 313651 w 2606154"/>
              <a:gd name="connsiteY1525" fmla="*/ 795755 h 3979594"/>
              <a:gd name="connsiteX1526" fmla="*/ 366605 w 2606154"/>
              <a:gd name="connsiteY1526" fmla="*/ 812859 h 3979594"/>
              <a:gd name="connsiteX1527" fmla="*/ 372308 w 2606154"/>
              <a:gd name="connsiteY1527" fmla="*/ 748514 h 3979594"/>
              <a:gd name="connsiteX1528" fmla="*/ 393490 w 2606154"/>
              <a:gd name="connsiteY1528" fmla="*/ 722451 h 3979594"/>
              <a:gd name="connsiteX1529" fmla="*/ 400007 w 2606154"/>
              <a:gd name="connsiteY1529" fmla="*/ 753401 h 3979594"/>
              <a:gd name="connsiteX1530" fmla="*/ 398378 w 2606154"/>
              <a:gd name="connsiteY1530" fmla="*/ 819375 h 3979594"/>
              <a:gd name="connsiteX1531" fmla="*/ 438297 w 2606154"/>
              <a:gd name="connsiteY1531" fmla="*/ 822633 h 3979594"/>
              <a:gd name="connsiteX1532" fmla="*/ 439112 w 2606154"/>
              <a:gd name="connsiteY1532" fmla="*/ 822633 h 3979594"/>
              <a:gd name="connsiteX1533" fmla="*/ 455405 w 2606154"/>
              <a:gd name="connsiteY1533" fmla="*/ 842995 h 3979594"/>
              <a:gd name="connsiteX1534" fmla="*/ 435853 w 2606154"/>
              <a:gd name="connsiteY1534" fmla="*/ 863358 h 3979594"/>
              <a:gd name="connsiteX1535" fmla="*/ 135237 w 2606154"/>
              <a:gd name="connsiteY1535" fmla="*/ 540005 h 3979594"/>
              <a:gd name="connsiteX1536" fmla="*/ 146235 w 2606154"/>
              <a:gd name="connsiteY1536" fmla="*/ 513535 h 3979594"/>
              <a:gd name="connsiteX1537" fmla="*/ 1288820 w 2606154"/>
              <a:gd name="connsiteY1537" fmla="*/ 301362 h 3979594"/>
              <a:gd name="connsiteX1538" fmla="*/ 1261121 w 2606154"/>
              <a:gd name="connsiteY1538" fmla="*/ 329054 h 3979594"/>
              <a:gd name="connsiteX1539" fmla="*/ 1288820 w 2606154"/>
              <a:gd name="connsiteY1539" fmla="*/ 356747 h 3979594"/>
              <a:gd name="connsiteX1540" fmla="*/ 1316519 w 2606154"/>
              <a:gd name="connsiteY1540" fmla="*/ 329054 h 3979594"/>
              <a:gd name="connsiteX1541" fmla="*/ 1288820 w 2606154"/>
              <a:gd name="connsiteY1541" fmla="*/ 301362 h 3979594"/>
              <a:gd name="connsiteX1542" fmla="*/ 624044 w 2606154"/>
              <a:gd name="connsiteY1542" fmla="*/ 228056 h 3979594"/>
              <a:gd name="connsiteX1543" fmla="*/ 720176 w 2606154"/>
              <a:gd name="connsiteY1543" fmla="*/ 307061 h 3979594"/>
              <a:gd name="connsiteX1544" fmla="*/ 880667 w 2606154"/>
              <a:gd name="connsiteY1544" fmla="*/ 489507 h 3979594"/>
              <a:gd name="connsiteX1545" fmla="*/ 892887 w 2606154"/>
              <a:gd name="connsiteY1545" fmla="*/ 695573 h 3979594"/>
              <a:gd name="connsiteX1546" fmla="*/ 993908 w 2606154"/>
              <a:gd name="connsiteY1546" fmla="*/ 536747 h 3979594"/>
              <a:gd name="connsiteX1547" fmla="*/ 991464 w 2606154"/>
              <a:gd name="connsiteY1547" fmla="*/ 668695 h 3979594"/>
              <a:gd name="connsiteX1548" fmla="*/ 1045232 w 2606154"/>
              <a:gd name="connsiteY1548" fmla="*/ 751773 h 3979594"/>
              <a:gd name="connsiteX1549" fmla="*/ 932807 w 2606154"/>
              <a:gd name="connsiteY1549" fmla="*/ 805529 h 3979594"/>
              <a:gd name="connsiteX1550" fmla="*/ 1073746 w 2606154"/>
              <a:gd name="connsiteY1550" fmla="*/ 781909 h 3979594"/>
              <a:gd name="connsiteX1551" fmla="*/ 844007 w 2606154"/>
              <a:gd name="connsiteY1551" fmla="*/ 1067795 h 3979594"/>
              <a:gd name="connsiteX1552" fmla="*/ 936065 w 2606154"/>
              <a:gd name="connsiteY1552" fmla="*/ 981459 h 3979594"/>
              <a:gd name="connsiteX1553" fmla="*/ 1024051 w 2606154"/>
              <a:gd name="connsiteY1553" fmla="*/ 881276 h 3979594"/>
              <a:gd name="connsiteX1554" fmla="*/ 831787 w 2606154"/>
              <a:gd name="connsiteY1554" fmla="*/ 860914 h 3979594"/>
              <a:gd name="connsiteX1555" fmla="*/ 738099 w 2606154"/>
              <a:gd name="connsiteY1555" fmla="*/ 834036 h 3979594"/>
              <a:gd name="connsiteX1556" fmla="*/ 713658 w 2606154"/>
              <a:gd name="connsiteY1556" fmla="*/ 886163 h 3979594"/>
              <a:gd name="connsiteX1557" fmla="*/ 699809 w 2606154"/>
              <a:gd name="connsiteY1557" fmla="*/ 776207 h 3979594"/>
              <a:gd name="connsiteX1558" fmla="*/ 575163 w 2606154"/>
              <a:gd name="connsiteY1558" fmla="*/ 678469 h 3979594"/>
              <a:gd name="connsiteX1559" fmla="*/ 723434 w 2606154"/>
              <a:gd name="connsiteY1559" fmla="*/ 687428 h 3979594"/>
              <a:gd name="connsiteX1560" fmla="*/ 807346 w 2606154"/>
              <a:gd name="connsiteY1560" fmla="*/ 730596 h 3979594"/>
              <a:gd name="connsiteX1561" fmla="*/ 857042 w 2606154"/>
              <a:gd name="connsiteY1561" fmla="*/ 759917 h 3979594"/>
              <a:gd name="connsiteX1562" fmla="*/ 797570 w 2606154"/>
              <a:gd name="connsiteY1562" fmla="*/ 630414 h 3979594"/>
              <a:gd name="connsiteX1563" fmla="*/ 704697 w 2606154"/>
              <a:gd name="connsiteY1563" fmla="*/ 566069 h 3979594"/>
              <a:gd name="connsiteX1564" fmla="*/ 809790 w 2606154"/>
              <a:gd name="connsiteY1564" fmla="*/ 511498 h 3979594"/>
              <a:gd name="connsiteX1565" fmla="*/ 761724 w 2606154"/>
              <a:gd name="connsiteY1565" fmla="*/ 391768 h 3979594"/>
              <a:gd name="connsiteX1566" fmla="*/ 567831 w 2606154"/>
              <a:gd name="connsiteY1566" fmla="*/ 421904 h 3979594"/>
              <a:gd name="connsiteX1567" fmla="*/ 665592 w 2606154"/>
              <a:gd name="connsiteY1567" fmla="*/ 360003 h 3979594"/>
              <a:gd name="connsiteX1568" fmla="*/ 624044 w 2606154"/>
              <a:gd name="connsiteY1568" fmla="*/ 228056 h 3979594"/>
              <a:gd name="connsiteX1569" fmla="*/ 1956042 w 2606154"/>
              <a:gd name="connsiteY1569" fmla="*/ 227243 h 3979594"/>
              <a:gd name="connsiteX1570" fmla="*/ 1914493 w 2606154"/>
              <a:gd name="connsiteY1570" fmla="*/ 359190 h 3979594"/>
              <a:gd name="connsiteX1571" fmla="*/ 2012255 w 2606154"/>
              <a:gd name="connsiteY1571" fmla="*/ 421091 h 3979594"/>
              <a:gd name="connsiteX1572" fmla="*/ 1818361 w 2606154"/>
              <a:gd name="connsiteY1572" fmla="*/ 390955 h 3979594"/>
              <a:gd name="connsiteX1573" fmla="*/ 1770295 w 2606154"/>
              <a:gd name="connsiteY1573" fmla="*/ 510685 h 3979594"/>
              <a:gd name="connsiteX1574" fmla="*/ 1875389 w 2606154"/>
              <a:gd name="connsiteY1574" fmla="*/ 565256 h 3979594"/>
              <a:gd name="connsiteX1575" fmla="*/ 1783330 w 2606154"/>
              <a:gd name="connsiteY1575" fmla="*/ 629601 h 3979594"/>
              <a:gd name="connsiteX1576" fmla="*/ 1723859 w 2606154"/>
              <a:gd name="connsiteY1576" fmla="*/ 759105 h 3979594"/>
              <a:gd name="connsiteX1577" fmla="*/ 1773554 w 2606154"/>
              <a:gd name="connsiteY1577" fmla="*/ 729783 h 3979594"/>
              <a:gd name="connsiteX1578" fmla="*/ 1857466 w 2606154"/>
              <a:gd name="connsiteY1578" fmla="*/ 686615 h 3979594"/>
              <a:gd name="connsiteX1579" fmla="*/ 2005737 w 2606154"/>
              <a:gd name="connsiteY1579" fmla="*/ 677656 h 3979594"/>
              <a:gd name="connsiteX1580" fmla="*/ 1881091 w 2606154"/>
              <a:gd name="connsiteY1580" fmla="*/ 775394 h 3979594"/>
              <a:gd name="connsiteX1581" fmla="*/ 1867242 w 2606154"/>
              <a:gd name="connsiteY1581" fmla="*/ 885350 h 3979594"/>
              <a:gd name="connsiteX1582" fmla="*/ 1842802 w 2606154"/>
              <a:gd name="connsiteY1582" fmla="*/ 833223 h 3979594"/>
              <a:gd name="connsiteX1583" fmla="*/ 1749114 w 2606154"/>
              <a:gd name="connsiteY1583" fmla="*/ 860101 h 3979594"/>
              <a:gd name="connsiteX1584" fmla="*/ 1556850 w 2606154"/>
              <a:gd name="connsiteY1584" fmla="*/ 880464 h 3979594"/>
              <a:gd name="connsiteX1585" fmla="*/ 1644835 w 2606154"/>
              <a:gd name="connsiteY1585" fmla="*/ 980646 h 3979594"/>
              <a:gd name="connsiteX1586" fmla="*/ 1736894 w 2606154"/>
              <a:gd name="connsiteY1586" fmla="*/ 1066982 h 3979594"/>
              <a:gd name="connsiteX1587" fmla="*/ 1507154 w 2606154"/>
              <a:gd name="connsiteY1587" fmla="*/ 781096 h 3979594"/>
              <a:gd name="connsiteX1588" fmla="*/ 1648094 w 2606154"/>
              <a:gd name="connsiteY1588" fmla="*/ 804716 h 3979594"/>
              <a:gd name="connsiteX1589" fmla="*/ 1535668 w 2606154"/>
              <a:gd name="connsiteY1589" fmla="*/ 750960 h 3979594"/>
              <a:gd name="connsiteX1590" fmla="*/ 1589437 w 2606154"/>
              <a:gd name="connsiteY1590" fmla="*/ 667882 h 3979594"/>
              <a:gd name="connsiteX1591" fmla="*/ 1586993 w 2606154"/>
              <a:gd name="connsiteY1591" fmla="*/ 535934 h 3979594"/>
              <a:gd name="connsiteX1592" fmla="*/ 1687198 w 2606154"/>
              <a:gd name="connsiteY1592" fmla="*/ 694760 h 3979594"/>
              <a:gd name="connsiteX1593" fmla="*/ 1699418 w 2606154"/>
              <a:gd name="connsiteY1593" fmla="*/ 488694 h 3979594"/>
              <a:gd name="connsiteX1594" fmla="*/ 1859910 w 2606154"/>
              <a:gd name="connsiteY1594" fmla="*/ 306248 h 3979594"/>
              <a:gd name="connsiteX1595" fmla="*/ 1956042 w 2606154"/>
              <a:gd name="connsiteY1595" fmla="*/ 227243 h 3979594"/>
              <a:gd name="connsiteX1596" fmla="*/ 1360512 w 2606154"/>
              <a:gd name="connsiteY1596" fmla="*/ 161270 h 3979594"/>
              <a:gd name="connsiteX1597" fmla="*/ 1351550 w 2606154"/>
              <a:gd name="connsiteY1597" fmla="*/ 193035 h 3979594"/>
              <a:gd name="connsiteX1598" fmla="*/ 1329554 w 2606154"/>
              <a:gd name="connsiteY1598" fmla="*/ 267154 h 3979594"/>
              <a:gd name="connsiteX1599" fmla="*/ 1350736 w 2606154"/>
              <a:gd name="connsiteY1599" fmla="*/ 289145 h 3979594"/>
              <a:gd name="connsiteX1600" fmla="*/ 1423242 w 2606154"/>
              <a:gd name="connsiteY1600" fmla="*/ 267154 h 3979594"/>
              <a:gd name="connsiteX1601" fmla="*/ 1455014 w 2606154"/>
              <a:gd name="connsiteY1601" fmla="*/ 257380 h 3979594"/>
              <a:gd name="connsiteX1602" fmla="*/ 1435462 w 2606154"/>
              <a:gd name="connsiteY1602" fmla="*/ 284258 h 3979594"/>
              <a:gd name="connsiteX1603" fmla="*/ 1402060 w 2606154"/>
              <a:gd name="connsiteY1603" fmla="*/ 330683 h 3979594"/>
              <a:gd name="connsiteX1604" fmla="*/ 1436277 w 2606154"/>
              <a:gd name="connsiteY1604" fmla="*/ 377110 h 3979594"/>
              <a:gd name="connsiteX1605" fmla="*/ 1455829 w 2606154"/>
              <a:gd name="connsiteY1605" fmla="*/ 403987 h 3979594"/>
              <a:gd name="connsiteX1606" fmla="*/ 1424057 w 2606154"/>
              <a:gd name="connsiteY1606" fmla="*/ 394214 h 3979594"/>
              <a:gd name="connsiteX1607" fmla="*/ 1349921 w 2606154"/>
              <a:gd name="connsiteY1607" fmla="*/ 372223 h 3979594"/>
              <a:gd name="connsiteX1608" fmla="*/ 1329554 w 2606154"/>
              <a:gd name="connsiteY1608" fmla="*/ 392584 h 3979594"/>
              <a:gd name="connsiteX1609" fmla="*/ 1351550 w 2606154"/>
              <a:gd name="connsiteY1609" fmla="*/ 465074 h 3979594"/>
              <a:gd name="connsiteX1610" fmla="*/ 1361326 w 2606154"/>
              <a:gd name="connsiteY1610" fmla="*/ 496840 h 3979594"/>
              <a:gd name="connsiteX1611" fmla="*/ 1334442 w 2606154"/>
              <a:gd name="connsiteY1611" fmla="*/ 477292 h 3979594"/>
              <a:gd name="connsiteX1612" fmla="*/ 1288005 w 2606154"/>
              <a:gd name="connsiteY1612" fmla="*/ 443898 h 3979594"/>
              <a:gd name="connsiteX1613" fmla="*/ 1241569 w 2606154"/>
              <a:gd name="connsiteY1613" fmla="*/ 478106 h 3979594"/>
              <a:gd name="connsiteX1614" fmla="*/ 1214684 w 2606154"/>
              <a:gd name="connsiteY1614" fmla="*/ 497654 h 3979594"/>
              <a:gd name="connsiteX1615" fmla="*/ 1224461 w 2606154"/>
              <a:gd name="connsiteY1615" fmla="*/ 465889 h 3979594"/>
              <a:gd name="connsiteX1616" fmla="*/ 1245642 w 2606154"/>
              <a:gd name="connsiteY1616" fmla="*/ 394214 h 3979594"/>
              <a:gd name="connsiteX1617" fmla="*/ 1223646 w 2606154"/>
              <a:gd name="connsiteY1617" fmla="*/ 372223 h 3979594"/>
              <a:gd name="connsiteX1618" fmla="*/ 1151954 w 2606154"/>
              <a:gd name="connsiteY1618" fmla="*/ 393399 h 3979594"/>
              <a:gd name="connsiteX1619" fmla="*/ 1120182 w 2606154"/>
              <a:gd name="connsiteY1619" fmla="*/ 403172 h 3979594"/>
              <a:gd name="connsiteX1620" fmla="*/ 1139734 w 2606154"/>
              <a:gd name="connsiteY1620" fmla="*/ 376295 h 3979594"/>
              <a:gd name="connsiteX1621" fmla="*/ 1173136 w 2606154"/>
              <a:gd name="connsiteY1621" fmla="*/ 329868 h 3979594"/>
              <a:gd name="connsiteX1622" fmla="*/ 1138919 w 2606154"/>
              <a:gd name="connsiteY1622" fmla="*/ 283443 h 3979594"/>
              <a:gd name="connsiteX1623" fmla="*/ 1119367 w 2606154"/>
              <a:gd name="connsiteY1623" fmla="*/ 256565 h 3979594"/>
              <a:gd name="connsiteX1624" fmla="*/ 1151140 w 2606154"/>
              <a:gd name="connsiteY1624" fmla="*/ 265525 h 3979594"/>
              <a:gd name="connsiteX1625" fmla="*/ 1222831 w 2606154"/>
              <a:gd name="connsiteY1625" fmla="*/ 286701 h 3979594"/>
              <a:gd name="connsiteX1626" fmla="*/ 1246457 w 2606154"/>
              <a:gd name="connsiteY1626" fmla="*/ 263896 h 3979594"/>
              <a:gd name="connsiteX1627" fmla="*/ 1225275 w 2606154"/>
              <a:gd name="connsiteY1627" fmla="*/ 192220 h 3979594"/>
              <a:gd name="connsiteX1628" fmla="*/ 1213870 w 2606154"/>
              <a:gd name="connsiteY1628" fmla="*/ 162085 h 3979594"/>
              <a:gd name="connsiteX1629" fmla="*/ 1240754 w 2606154"/>
              <a:gd name="connsiteY1629" fmla="*/ 181632 h 3979594"/>
              <a:gd name="connsiteX1630" fmla="*/ 1287191 w 2606154"/>
              <a:gd name="connsiteY1630" fmla="*/ 215026 h 3979594"/>
              <a:gd name="connsiteX1631" fmla="*/ 1333627 w 2606154"/>
              <a:gd name="connsiteY1631" fmla="*/ 180818 h 3979594"/>
              <a:gd name="connsiteX1632" fmla="*/ 1234237 w 2606154"/>
              <a:gd name="connsiteY1632" fmla="*/ 0 h 3979594"/>
              <a:gd name="connsiteX1633" fmla="*/ 1084336 w 2606154"/>
              <a:gd name="connsiteY1633" fmla="*/ 257379 h 3979594"/>
              <a:gd name="connsiteX1634" fmla="*/ 1144622 w 2606154"/>
              <a:gd name="connsiteY1634" fmla="*/ 574214 h 3979594"/>
              <a:gd name="connsiteX1635" fmla="*/ 1222017 w 2606154"/>
              <a:gd name="connsiteY1635" fmla="*/ 545707 h 3979594"/>
              <a:gd name="connsiteX1636" fmla="*/ 1252160 w 2606154"/>
              <a:gd name="connsiteY1636" fmla="*/ 541634 h 3979594"/>
              <a:gd name="connsiteX1637" fmla="*/ 1286376 w 2606154"/>
              <a:gd name="connsiteY1637" fmla="*/ 540005 h 3979594"/>
              <a:gd name="connsiteX1638" fmla="*/ 1287191 w 2606154"/>
              <a:gd name="connsiteY1638" fmla="*/ 540005 h 3979594"/>
              <a:gd name="connsiteX1639" fmla="*/ 1288006 w 2606154"/>
              <a:gd name="connsiteY1639" fmla="*/ 540005 h 3979594"/>
              <a:gd name="connsiteX1640" fmla="*/ 1322222 w 2606154"/>
              <a:gd name="connsiteY1640" fmla="*/ 541634 h 3979594"/>
              <a:gd name="connsiteX1641" fmla="*/ 1352365 w 2606154"/>
              <a:gd name="connsiteY1641" fmla="*/ 545707 h 3979594"/>
              <a:gd name="connsiteX1642" fmla="*/ 1429759 w 2606154"/>
              <a:gd name="connsiteY1642" fmla="*/ 574214 h 3979594"/>
              <a:gd name="connsiteX1643" fmla="*/ 1490046 w 2606154"/>
              <a:gd name="connsiteY1643" fmla="*/ 257379 h 3979594"/>
              <a:gd name="connsiteX1644" fmla="*/ 1340145 w 2606154"/>
              <a:gd name="connsiteY1644" fmla="*/ 0 h 3979594"/>
              <a:gd name="connsiteX1645" fmla="*/ 1518559 w 2606154"/>
              <a:gd name="connsiteY1645" fmla="*/ 196292 h 3979594"/>
              <a:gd name="connsiteX1646" fmla="*/ 1559293 w 2606154"/>
              <a:gd name="connsiteY1646" fmla="*/ 155567 h 3979594"/>
              <a:gd name="connsiteX1647" fmla="*/ 1686383 w 2606154"/>
              <a:gd name="connsiteY1647" fmla="*/ 282628 h 3979594"/>
              <a:gd name="connsiteX1648" fmla="*/ 1552776 w 2606154"/>
              <a:gd name="connsiteY1648" fmla="*/ 193034 h 3979594"/>
              <a:gd name="connsiteX1649" fmla="*/ 1547073 w 2606154"/>
              <a:gd name="connsiteY1649" fmla="*/ 338013 h 3979594"/>
              <a:gd name="connsiteX1650" fmla="*/ 1577216 w 2606154"/>
              <a:gd name="connsiteY1650" fmla="*/ 317651 h 3979594"/>
              <a:gd name="connsiteX1651" fmla="*/ 1628541 w 2606154"/>
              <a:gd name="connsiteY1651" fmla="*/ 343714 h 3979594"/>
              <a:gd name="connsiteX1652" fmla="*/ 1643205 w 2606154"/>
              <a:gd name="connsiteY1652" fmla="*/ 507427 h 3979594"/>
              <a:gd name="connsiteX1653" fmla="*/ 1587807 w 2606154"/>
              <a:gd name="connsiteY1653" fmla="*/ 358375 h 3979594"/>
              <a:gd name="connsiteX1654" fmla="*/ 1552776 w 2606154"/>
              <a:gd name="connsiteY1654" fmla="*/ 433308 h 3979594"/>
              <a:gd name="connsiteX1655" fmla="*/ 1466420 w 2606154"/>
              <a:gd name="connsiteY1655" fmla="*/ 614124 h 3979594"/>
              <a:gd name="connsiteX1656" fmla="*/ 1471308 w 2606154"/>
              <a:gd name="connsiteY1656" fmla="*/ 660550 h 3979594"/>
              <a:gd name="connsiteX1657" fmla="*/ 1488416 w 2606154"/>
              <a:gd name="connsiteY1657" fmla="*/ 715935 h 3979594"/>
              <a:gd name="connsiteX1658" fmla="*/ 1432204 w 2606154"/>
              <a:gd name="connsiteY1658" fmla="*/ 733854 h 3979594"/>
              <a:gd name="connsiteX1659" fmla="*/ 1424057 w 2606154"/>
              <a:gd name="connsiteY1659" fmla="*/ 730596 h 3979594"/>
              <a:gd name="connsiteX1660" fmla="*/ 1287191 w 2606154"/>
              <a:gd name="connsiteY1660" fmla="*/ 698016 h 3979594"/>
              <a:gd name="connsiteX1661" fmla="*/ 1150325 w 2606154"/>
              <a:gd name="connsiteY1661" fmla="*/ 730596 h 3979594"/>
              <a:gd name="connsiteX1662" fmla="*/ 1142178 w 2606154"/>
              <a:gd name="connsiteY1662" fmla="*/ 733854 h 3979594"/>
              <a:gd name="connsiteX1663" fmla="*/ 1085966 w 2606154"/>
              <a:gd name="connsiteY1663" fmla="*/ 715935 h 3979594"/>
              <a:gd name="connsiteX1664" fmla="*/ 1103074 w 2606154"/>
              <a:gd name="connsiteY1664" fmla="*/ 660550 h 3979594"/>
              <a:gd name="connsiteX1665" fmla="*/ 1107962 w 2606154"/>
              <a:gd name="connsiteY1665" fmla="*/ 614124 h 3979594"/>
              <a:gd name="connsiteX1666" fmla="*/ 1021606 w 2606154"/>
              <a:gd name="connsiteY1666" fmla="*/ 433308 h 3979594"/>
              <a:gd name="connsiteX1667" fmla="*/ 986575 w 2606154"/>
              <a:gd name="connsiteY1667" fmla="*/ 358375 h 3979594"/>
              <a:gd name="connsiteX1668" fmla="*/ 931177 w 2606154"/>
              <a:gd name="connsiteY1668" fmla="*/ 507427 h 3979594"/>
              <a:gd name="connsiteX1669" fmla="*/ 945841 w 2606154"/>
              <a:gd name="connsiteY1669" fmla="*/ 343714 h 3979594"/>
              <a:gd name="connsiteX1670" fmla="*/ 997165 w 2606154"/>
              <a:gd name="connsiteY1670" fmla="*/ 317651 h 3979594"/>
              <a:gd name="connsiteX1671" fmla="*/ 1027309 w 2606154"/>
              <a:gd name="connsiteY1671" fmla="*/ 338013 h 3979594"/>
              <a:gd name="connsiteX1672" fmla="*/ 1021606 w 2606154"/>
              <a:gd name="connsiteY1672" fmla="*/ 193034 h 3979594"/>
              <a:gd name="connsiteX1673" fmla="*/ 887184 w 2606154"/>
              <a:gd name="connsiteY1673" fmla="*/ 282628 h 3979594"/>
              <a:gd name="connsiteX1674" fmla="*/ 1014274 w 2606154"/>
              <a:gd name="connsiteY1674" fmla="*/ 155567 h 3979594"/>
              <a:gd name="connsiteX1675" fmla="*/ 1055008 w 2606154"/>
              <a:gd name="connsiteY1675" fmla="*/ 196292 h 3979594"/>
              <a:gd name="connsiteX1676" fmla="*/ 1234237 w 2606154"/>
              <a:gd name="connsiteY1676" fmla="*/ 0 h 397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Lst>
            <a:rect l="l" t="t" r="r" b="b"/>
            <a:pathLst>
              <a:path w="2606154" h="3979594">
                <a:moveTo>
                  <a:pt x="1586993" y="3771900"/>
                </a:moveTo>
                <a:lnTo>
                  <a:pt x="1557665" y="3862308"/>
                </a:lnTo>
                <a:cubicBezTo>
                  <a:pt x="1556850" y="3863937"/>
                  <a:pt x="1557665" y="3864751"/>
                  <a:pt x="1558479" y="3864751"/>
                </a:cubicBezTo>
                <a:lnTo>
                  <a:pt x="1622024" y="3864751"/>
                </a:lnTo>
                <a:cubicBezTo>
                  <a:pt x="1623654" y="3864751"/>
                  <a:pt x="1623654" y="3863937"/>
                  <a:pt x="1623654" y="3862308"/>
                </a:cubicBezTo>
                <a:lnTo>
                  <a:pt x="1591881" y="3771900"/>
                </a:lnTo>
                <a:cubicBezTo>
                  <a:pt x="1590252" y="3767012"/>
                  <a:pt x="1588622" y="3767012"/>
                  <a:pt x="1586993" y="3771900"/>
                </a:cubicBezTo>
                <a:close/>
                <a:moveTo>
                  <a:pt x="1331183" y="3733618"/>
                </a:moveTo>
                <a:cubicBezTo>
                  <a:pt x="1321407" y="3733618"/>
                  <a:pt x="1312446" y="3734432"/>
                  <a:pt x="1309187" y="3735247"/>
                </a:cubicBezTo>
                <a:cubicBezTo>
                  <a:pt x="1307558" y="3736061"/>
                  <a:pt x="1306743" y="3737690"/>
                  <a:pt x="1306743" y="3739319"/>
                </a:cubicBezTo>
                <a:lnTo>
                  <a:pt x="1305929" y="3739319"/>
                </a:lnTo>
                <a:lnTo>
                  <a:pt x="1305929" y="3848461"/>
                </a:lnTo>
                <a:cubicBezTo>
                  <a:pt x="1305929" y="3850090"/>
                  <a:pt x="1306743" y="3851719"/>
                  <a:pt x="1308373" y="3852533"/>
                </a:cubicBezTo>
                <a:cubicBezTo>
                  <a:pt x="1313261" y="3855791"/>
                  <a:pt x="1328739" y="3858235"/>
                  <a:pt x="1343404" y="3858235"/>
                </a:cubicBezTo>
                <a:cubicBezTo>
                  <a:pt x="1351550" y="3858235"/>
                  <a:pt x="1361327" y="3857420"/>
                  <a:pt x="1368659" y="3851719"/>
                </a:cubicBezTo>
                <a:cubicBezTo>
                  <a:pt x="1380064" y="3843574"/>
                  <a:pt x="1389026" y="3825655"/>
                  <a:pt x="1389026" y="3800406"/>
                </a:cubicBezTo>
                <a:cubicBezTo>
                  <a:pt x="1389026" y="3758867"/>
                  <a:pt x="1367029" y="3733618"/>
                  <a:pt x="1331183" y="3733618"/>
                </a:cubicBezTo>
                <a:close/>
                <a:moveTo>
                  <a:pt x="637892" y="3733618"/>
                </a:moveTo>
                <a:cubicBezTo>
                  <a:pt x="628116" y="3733618"/>
                  <a:pt x="619155" y="3734432"/>
                  <a:pt x="615896" y="3735247"/>
                </a:cubicBezTo>
                <a:cubicBezTo>
                  <a:pt x="614267" y="3736061"/>
                  <a:pt x="613452" y="3737690"/>
                  <a:pt x="613452" y="3739319"/>
                </a:cubicBezTo>
                <a:lnTo>
                  <a:pt x="612637" y="3739319"/>
                </a:lnTo>
                <a:lnTo>
                  <a:pt x="612637" y="3848461"/>
                </a:lnTo>
                <a:cubicBezTo>
                  <a:pt x="612637" y="3850090"/>
                  <a:pt x="613452" y="3851719"/>
                  <a:pt x="615081" y="3852533"/>
                </a:cubicBezTo>
                <a:cubicBezTo>
                  <a:pt x="619970" y="3855791"/>
                  <a:pt x="635448" y="3858235"/>
                  <a:pt x="650113" y="3858235"/>
                </a:cubicBezTo>
                <a:cubicBezTo>
                  <a:pt x="658259" y="3858235"/>
                  <a:pt x="668035" y="3857420"/>
                  <a:pt x="675368" y="3851719"/>
                </a:cubicBezTo>
                <a:cubicBezTo>
                  <a:pt x="686773" y="3843574"/>
                  <a:pt x="695735" y="3825655"/>
                  <a:pt x="695735" y="3800406"/>
                </a:cubicBezTo>
                <a:cubicBezTo>
                  <a:pt x="695735" y="3758867"/>
                  <a:pt x="673738" y="3733618"/>
                  <a:pt x="637892" y="3733618"/>
                </a:cubicBezTo>
                <a:close/>
                <a:moveTo>
                  <a:pt x="2147491" y="3729545"/>
                </a:moveTo>
                <a:cubicBezTo>
                  <a:pt x="2091278" y="3729545"/>
                  <a:pt x="2049729" y="3766197"/>
                  <a:pt x="2049729" y="3839501"/>
                </a:cubicBezTo>
                <a:cubicBezTo>
                  <a:pt x="2049729" y="3916878"/>
                  <a:pt x="2096166" y="3967376"/>
                  <a:pt x="2157267" y="3967376"/>
                </a:cubicBezTo>
                <a:cubicBezTo>
                  <a:pt x="2187410" y="3967376"/>
                  <a:pt x="2249326" y="3949457"/>
                  <a:pt x="2249326" y="3852533"/>
                </a:cubicBezTo>
                <a:cubicBezTo>
                  <a:pt x="2249326" y="3772713"/>
                  <a:pt x="2200445" y="3729545"/>
                  <a:pt x="2147491" y="3729545"/>
                </a:cubicBezTo>
                <a:close/>
                <a:moveTo>
                  <a:pt x="1107962" y="3729545"/>
                </a:moveTo>
                <a:cubicBezTo>
                  <a:pt x="1051749" y="3729545"/>
                  <a:pt x="1010200" y="3766197"/>
                  <a:pt x="1010200" y="3839501"/>
                </a:cubicBezTo>
                <a:cubicBezTo>
                  <a:pt x="1010200" y="3916878"/>
                  <a:pt x="1056637" y="3967376"/>
                  <a:pt x="1117738" y="3967376"/>
                </a:cubicBezTo>
                <a:cubicBezTo>
                  <a:pt x="1147881" y="3967376"/>
                  <a:pt x="1209797" y="3949457"/>
                  <a:pt x="1209797" y="3852533"/>
                </a:cubicBezTo>
                <a:cubicBezTo>
                  <a:pt x="1209797" y="3772713"/>
                  <a:pt x="1160916" y="3729545"/>
                  <a:pt x="1107962" y="3729545"/>
                </a:cubicBezTo>
                <a:close/>
                <a:moveTo>
                  <a:pt x="414671" y="3729545"/>
                </a:moveTo>
                <a:cubicBezTo>
                  <a:pt x="358458" y="3729545"/>
                  <a:pt x="316910" y="3766197"/>
                  <a:pt x="316910" y="3839501"/>
                </a:cubicBezTo>
                <a:cubicBezTo>
                  <a:pt x="316910" y="3916878"/>
                  <a:pt x="363346" y="3967376"/>
                  <a:pt x="424447" y="3967376"/>
                </a:cubicBezTo>
                <a:cubicBezTo>
                  <a:pt x="454590" y="3967376"/>
                  <a:pt x="516506" y="3949457"/>
                  <a:pt x="516506" y="3852533"/>
                </a:cubicBezTo>
                <a:cubicBezTo>
                  <a:pt x="516506" y="3772713"/>
                  <a:pt x="467625" y="3729545"/>
                  <a:pt x="414671" y="3729545"/>
                </a:cubicBezTo>
                <a:close/>
                <a:moveTo>
                  <a:pt x="566201" y="3723844"/>
                </a:moveTo>
                <a:cubicBezTo>
                  <a:pt x="580865" y="3723844"/>
                  <a:pt x="602047" y="3724659"/>
                  <a:pt x="603676" y="3724659"/>
                </a:cubicBezTo>
                <a:cubicBezTo>
                  <a:pt x="606935" y="3724659"/>
                  <a:pt x="632190" y="3723844"/>
                  <a:pt x="642781" y="3723844"/>
                </a:cubicBezTo>
                <a:cubicBezTo>
                  <a:pt x="663962" y="3723844"/>
                  <a:pt x="685958" y="3725473"/>
                  <a:pt x="703881" y="3738505"/>
                </a:cubicBezTo>
                <a:cubicBezTo>
                  <a:pt x="712028" y="3745021"/>
                  <a:pt x="726692" y="3761311"/>
                  <a:pt x="726692" y="3784116"/>
                </a:cubicBezTo>
                <a:cubicBezTo>
                  <a:pt x="726692" y="3809365"/>
                  <a:pt x="716102" y="3833800"/>
                  <a:pt x="685958" y="3861493"/>
                </a:cubicBezTo>
                <a:cubicBezTo>
                  <a:pt x="712843" y="3896516"/>
                  <a:pt x="735654" y="3926652"/>
                  <a:pt x="755206" y="3947014"/>
                </a:cubicBezTo>
                <a:cubicBezTo>
                  <a:pt x="773129" y="3966562"/>
                  <a:pt x="787793" y="3969820"/>
                  <a:pt x="795940" y="3971449"/>
                </a:cubicBezTo>
                <a:lnTo>
                  <a:pt x="798901" y="3971634"/>
                </a:lnTo>
                <a:lnTo>
                  <a:pt x="804902" y="3970634"/>
                </a:lnTo>
                <a:cubicBezTo>
                  <a:pt x="811419" y="3969006"/>
                  <a:pt x="813048" y="3961675"/>
                  <a:pt x="814678" y="3951901"/>
                </a:cubicBezTo>
                <a:cubicBezTo>
                  <a:pt x="816307" y="3938055"/>
                  <a:pt x="816307" y="3911177"/>
                  <a:pt x="816307" y="3879412"/>
                </a:cubicBezTo>
                <a:lnTo>
                  <a:pt x="816307" y="3819954"/>
                </a:lnTo>
                <a:lnTo>
                  <a:pt x="817936" y="3819954"/>
                </a:lnTo>
                <a:cubicBezTo>
                  <a:pt x="817936" y="3767827"/>
                  <a:pt x="817936" y="3758867"/>
                  <a:pt x="817122" y="3747464"/>
                </a:cubicBezTo>
                <a:cubicBezTo>
                  <a:pt x="816307" y="3736061"/>
                  <a:pt x="813863" y="3730360"/>
                  <a:pt x="802458" y="3728731"/>
                </a:cubicBezTo>
                <a:cubicBezTo>
                  <a:pt x="800014" y="3727916"/>
                  <a:pt x="794311" y="3727916"/>
                  <a:pt x="791052" y="3727916"/>
                </a:cubicBezTo>
                <a:cubicBezTo>
                  <a:pt x="789423" y="3727916"/>
                  <a:pt x="788608" y="3727102"/>
                  <a:pt x="788608" y="3726287"/>
                </a:cubicBezTo>
                <a:cubicBezTo>
                  <a:pt x="788608" y="3724659"/>
                  <a:pt x="790237" y="3723844"/>
                  <a:pt x="794311" y="3723844"/>
                </a:cubicBezTo>
                <a:cubicBezTo>
                  <a:pt x="808975" y="3723844"/>
                  <a:pt x="829342" y="3724659"/>
                  <a:pt x="831786" y="3724659"/>
                </a:cubicBezTo>
                <a:cubicBezTo>
                  <a:pt x="839118" y="3724659"/>
                  <a:pt x="858670" y="3723844"/>
                  <a:pt x="874149" y="3723844"/>
                </a:cubicBezTo>
                <a:cubicBezTo>
                  <a:pt x="915698" y="3723844"/>
                  <a:pt x="931177" y="3737690"/>
                  <a:pt x="936065" y="3742577"/>
                </a:cubicBezTo>
                <a:cubicBezTo>
                  <a:pt x="943397" y="3749908"/>
                  <a:pt x="953173" y="3764568"/>
                  <a:pt x="953173" y="3782487"/>
                </a:cubicBezTo>
                <a:cubicBezTo>
                  <a:pt x="953173" y="3829728"/>
                  <a:pt x="918142" y="3862307"/>
                  <a:pt x="870891" y="3862307"/>
                </a:cubicBezTo>
                <a:cubicBezTo>
                  <a:pt x="869261" y="3862307"/>
                  <a:pt x="865188" y="3862307"/>
                  <a:pt x="863558" y="3862307"/>
                </a:cubicBezTo>
                <a:cubicBezTo>
                  <a:pt x="861929" y="3862307"/>
                  <a:pt x="859485" y="3861493"/>
                  <a:pt x="859485" y="3859864"/>
                </a:cubicBezTo>
                <a:cubicBezTo>
                  <a:pt x="859485" y="3857420"/>
                  <a:pt x="861114" y="3856606"/>
                  <a:pt x="868446" y="3856606"/>
                </a:cubicBezTo>
                <a:cubicBezTo>
                  <a:pt x="901034" y="3856606"/>
                  <a:pt x="926289" y="3832986"/>
                  <a:pt x="926289" y="3802035"/>
                </a:cubicBezTo>
                <a:cubicBezTo>
                  <a:pt x="926289" y="3790632"/>
                  <a:pt x="925474" y="3768641"/>
                  <a:pt x="907551" y="3750722"/>
                </a:cubicBezTo>
                <a:cubicBezTo>
                  <a:pt x="889628" y="3732804"/>
                  <a:pt x="869261" y="3733618"/>
                  <a:pt x="861929" y="3733618"/>
                </a:cubicBezTo>
                <a:cubicBezTo>
                  <a:pt x="856226" y="3733618"/>
                  <a:pt x="850524" y="3734432"/>
                  <a:pt x="847265" y="3735247"/>
                </a:cubicBezTo>
                <a:cubicBezTo>
                  <a:pt x="845635" y="3736061"/>
                  <a:pt x="844821" y="3738505"/>
                  <a:pt x="844821" y="3741763"/>
                </a:cubicBezTo>
                <a:lnTo>
                  <a:pt x="844821" y="3879412"/>
                </a:lnTo>
                <a:cubicBezTo>
                  <a:pt x="844821" y="3911177"/>
                  <a:pt x="844821" y="3938055"/>
                  <a:pt x="846450" y="3951901"/>
                </a:cubicBezTo>
                <a:cubicBezTo>
                  <a:pt x="847265" y="3961675"/>
                  <a:pt x="849709" y="3969006"/>
                  <a:pt x="859485" y="3970634"/>
                </a:cubicBezTo>
                <a:cubicBezTo>
                  <a:pt x="864373" y="3971449"/>
                  <a:pt x="871705" y="3972263"/>
                  <a:pt x="874149" y="3972263"/>
                </a:cubicBezTo>
                <a:cubicBezTo>
                  <a:pt x="875779" y="3972263"/>
                  <a:pt x="876593" y="3973078"/>
                  <a:pt x="876593" y="3973892"/>
                </a:cubicBezTo>
                <a:cubicBezTo>
                  <a:pt x="876593" y="3975521"/>
                  <a:pt x="874964" y="3976336"/>
                  <a:pt x="870891" y="3976336"/>
                </a:cubicBezTo>
                <a:cubicBezTo>
                  <a:pt x="852153" y="3976336"/>
                  <a:pt x="831786" y="3975521"/>
                  <a:pt x="830157" y="3975521"/>
                </a:cubicBezTo>
                <a:cubicBezTo>
                  <a:pt x="829750" y="3975521"/>
                  <a:pt x="824250" y="3975725"/>
                  <a:pt x="817631" y="3975929"/>
                </a:cubicBezTo>
                <a:lnTo>
                  <a:pt x="804520" y="3976206"/>
                </a:lnTo>
                <a:lnTo>
                  <a:pt x="804087" y="3976336"/>
                </a:lnTo>
                <a:lnTo>
                  <a:pt x="798384" y="3976336"/>
                </a:lnTo>
                <a:lnTo>
                  <a:pt x="780461" y="3976336"/>
                </a:lnTo>
                <a:cubicBezTo>
                  <a:pt x="761723" y="3976336"/>
                  <a:pt x="753577" y="3974707"/>
                  <a:pt x="744615" y="3969820"/>
                </a:cubicBezTo>
                <a:cubicBezTo>
                  <a:pt x="730766" y="3962489"/>
                  <a:pt x="718546" y="3946199"/>
                  <a:pt x="699808" y="3920951"/>
                </a:cubicBezTo>
                <a:cubicBezTo>
                  <a:pt x="685144" y="3902217"/>
                  <a:pt x="669665" y="3880226"/>
                  <a:pt x="663147" y="3871267"/>
                </a:cubicBezTo>
                <a:cubicBezTo>
                  <a:pt x="662333" y="3869638"/>
                  <a:pt x="660703" y="3868823"/>
                  <a:pt x="659074" y="3868823"/>
                </a:cubicBezTo>
                <a:lnTo>
                  <a:pt x="618340" y="3868009"/>
                </a:lnTo>
                <a:cubicBezTo>
                  <a:pt x="616711" y="3868009"/>
                  <a:pt x="615896" y="3868823"/>
                  <a:pt x="615896" y="3870452"/>
                </a:cubicBezTo>
                <a:lnTo>
                  <a:pt x="615896" y="3878597"/>
                </a:lnTo>
                <a:cubicBezTo>
                  <a:pt x="615896" y="3910362"/>
                  <a:pt x="615896" y="3937240"/>
                  <a:pt x="617525" y="3951087"/>
                </a:cubicBezTo>
                <a:cubicBezTo>
                  <a:pt x="618340" y="3960861"/>
                  <a:pt x="620784" y="3968191"/>
                  <a:pt x="630560" y="3969820"/>
                </a:cubicBezTo>
                <a:cubicBezTo>
                  <a:pt x="634634" y="3970634"/>
                  <a:pt x="641966" y="3971449"/>
                  <a:pt x="645225" y="3971449"/>
                </a:cubicBezTo>
                <a:cubicBezTo>
                  <a:pt x="646854" y="3971449"/>
                  <a:pt x="647669" y="3972263"/>
                  <a:pt x="647669" y="3973078"/>
                </a:cubicBezTo>
                <a:cubicBezTo>
                  <a:pt x="647669" y="3974707"/>
                  <a:pt x="645225" y="3975521"/>
                  <a:pt x="641966" y="3975521"/>
                </a:cubicBezTo>
                <a:cubicBezTo>
                  <a:pt x="624043" y="3975521"/>
                  <a:pt x="602861" y="3974707"/>
                  <a:pt x="601232" y="3974707"/>
                </a:cubicBezTo>
                <a:cubicBezTo>
                  <a:pt x="600417" y="3974707"/>
                  <a:pt x="579236" y="3975521"/>
                  <a:pt x="569460" y="3975521"/>
                </a:cubicBezTo>
                <a:cubicBezTo>
                  <a:pt x="565386" y="3975521"/>
                  <a:pt x="563757" y="3974707"/>
                  <a:pt x="563757" y="3973078"/>
                </a:cubicBezTo>
                <a:cubicBezTo>
                  <a:pt x="563757" y="3972263"/>
                  <a:pt x="564571" y="3971449"/>
                  <a:pt x="566201" y="3971449"/>
                </a:cubicBezTo>
                <a:cubicBezTo>
                  <a:pt x="568645" y="3971449"/>
                  <a:pt x="572718" y="3970634"/>
                  <a:pt x="575977" y="3969820"/>
                </a:cubicBezTo>
                <a:cubicBezTo>
                  <a:pt x="582494" y="3968191"/>
                  <a:pt x="584124" y="3960861"/>
                  <a:pt x="585753" y="3951087"/>
                </a:cubicBezTo>
                <a:cubicBezTo>
                  <a:pt x="587382" y="3937240"/>
                  <a:pt x="587382" y="3910362"/>
                  <a:pt x="587382" y="3878597"/>
                </a:cubicBezTo>
                <a:lnTo>
                  <a:pt x="589826" y="3878597"/>
                </a:lnTo>
                <a:lnTo>
                  <a:pt x="589826" y="3819954"/>
                </a:lnTo>
                <a:cubicBezTo>
                  <a:pt x="589826" y="3767827"/>
                  <a:pt x="589826" y="3758053"/>
                  <a:pt x="589012" y="3747464"/>
                </a:cubicBezTo>
                <a:cubicBezTo>
                  <a:pt x="588197" y="3736061"/>
                  <a:pt x="585753" y="3731175"/>
                  <a:pt x="574348" y="3728731"/>
                </a:cubicBezTo>
                <a:cubicBezTo>
                  <a:pt x="571904" y="3727916"/>
                  <a:pt x="566201" y="3727916"/>
                  <a:pt x="562942" y="3727916"/>
                </a:cubicBezTo>
                <a:cubicBezTo>
                  <a:pt x="562127" y="3727916"/>
                  <a:pt x="560498" y="3727916"/>
                  <a:pt x="560498" y="3726287"/>
                </a:cubicBezTo>
                <a:cubicBezTo>
                  <a:pt x="560498" y="3724659"/>
                  <a:pt x="562127" y="3723844"/>
                  <a:pt x="566201" y="3723844"/>
                </a:cubicBezTo>
                <a:close/>
                <a:moveTo>
                  <a:pt x="1922640" y="3723030"/>
                </a:moveTo>
                <a:cubicBezTo>
                  <a:pt x="1933231" y="3723030"/>
                  <a:pt x="1954412" y="3723844"/>
                  <a:pt x="1956041" y="3723844"/>
                </a:cubicBezTo>
                <a:cubicBezTo>
                  <a:pt x="1957671" y="3723844"/>
                  <a:pt x="1978852" y="3723030"/>
                  <a:pt x="1988629" y="3723030"/>
                </a:cubicBezTo>
                <a:cubicBezTo>
                  <a:pt x="1991887" y="3723030"/>
                  <a:pt x="1994331" y="3723844"/>
                  <a:pt x="1994331" y="3725473"/>
                </a:cubicBezTo>
                <a:cubicBezTo>
                  <a:pt x="1994331" y="3727102"/>
                  <a:pt x="1992702" y="3727102"/>
                  <a:pt x="1991887" y="3727102"/>
                </a:cubicBezTo>
                <a:cubicBezTo>
                  <a:pt x="1989443" y="3727102"/>
                  <a:pt x="1987814" y="3727102"/>
                  <a:pt x="1983740" y="3727917"/>
                </a:cubicBezTo>
                <a:cubicBezTo>
                  <a:pt x="1974779" y="3729546"/>
                  <a:pt x="1972335" y="3735247"/>
                  <a:pt x="1971520" y="3746650"/>
                </a:cubicBezTo>
                <a:cubicBezTo>
                  <a:pt x="1970706" y="3757239"/>
                  <a:pt x="1970706" y="3767012"/>
                  <a:pt x="1970706" y="3819140"/>
                </a:cubicBezTo>
                <a:lnTo>
                  <a:pt x="1970706" y="3878597"/>
                </a:lnTo>
                <a:lnTo>
                  <a:pt x="1971520" y="3878597"/>
                </a:lnTo>
                <a:cubicBezTo>
                  <a:pt x="1971520" y="3910363"/>
                  <a:pt x="1971520" y="3937241"/>
                  <a:pt x="1973150" y="3951087"/>
                </a:cubicBezTo>
                <a:cubicBezTo>
                  <a:pt x="1973964" y="3960861"/>
                  <a:pt x="1976408" y="3968191"/>
                  <a:pt x="1986185" y="3969820"/>
                </a:cubicBezTo>
                <a:cubicBezTo>
                  <a:pt x="1991073" y="3970634"/>
                  <a:pt x="1998405" y="3971449"/>
                  <a:pt x="2000849" y="3971449"/>
                </a:cubicBezTo>
                <a:cubicBezTo>
                  <a:pt x="2002478" y="3971449"/>
                  <a:pt x="2003293" y="3972264"/>
                  <a:pt x="2003293" y="3973078"/>
                </a:cubicBezTo>
                <a:cubicBezTo>
                  <a:pt x="2003293" y="3974707"/>
                  <a:pt x="2001663" y="3975522"/>
                  <a:pt x="1997590" y="3975522"/>
                </a:cubicBezTo>
                <a:cubicBezTo>
                  <a:pt x="1978852" y="3975522"/>
                  <a:pt x="1958485" y="3974707"/>
                  <a:pt x="1956856" y="3974707"/>
                </a:cubicBezTo>
                <a:cubicBezTo>
                  <a:pt x="1955227" y="3974707"/>
                  <a:pt x="1934045" y="3975522"/>
                  <a:pt x="1924269" y="3975522"/>
                </a:cubicBezTo>
                <a:cubicBezTo>
                  <a:pt x="1921010" y="3975522"/>
                  <a:pt x="1918566" y="3974707"/>
                  <a:pt x="1918566" y="3973078"/>
                </a:cubicBezTo>
                <a:cubicBezTo>
                  <a:pt x="1918566" y="3972264"/>
                  <a:pt x="1919381" y="3971449"/>
                  <a:pt x="1921010" y="3971449"/>
                </a:cubicBezTo>
                <a:cubicBezTo>
                  <a:pt x="1924269" y="3971449"/>
                  <a:pt x="1928342" y="3970634"/>
                  <a:pt x="1930786" y="3969820"/>
                </a:cubicBezTo>
                <a:cubicBezTo>
                  <a:pt x="1937304" y="3968191"/>
                  <a:pt x="1938933" y="3960861"/>
                  <a:pt x="1940563" y="3951087"/>
                </a:cubicBezTo>
                <a:cubicBezTo>
                  <a:pt x="1942192" y="3937241"/>
                  <a:pt x="1942192" y="3910363"/>
                  <a:pt x="1942192" y="3878597"/>
                </a:cubicBezTo>
                <a:lnTo>
                  <a:pt x="1942192" y="3819954"/>
                </a:lnTo>
                <a:cubicBezTo>
                  <a:pt x="1942192" y="3767827"/>
                  <a:pt x="1942192" y="3758867"/>
                  <a:pt x="1941377" y="3747465"/>
                </a:cubicBezTo>
                <a:cubicBezTo>
                  <a:pt x="1940563" y="3736062"/>
                  <a:pt x="1937304" y="3730360"/>
                  <a:pt x="1929972" y="3728732"/>
                </a:cubicBezTo>
                <a:cubicBezTo>
                  <a:pt x="1926713" y="3727917"/>
                  <a:pt x="1921825" y="3727102"/>
                  <a:pt x="1919381" y="3727102"/>
                </a:cubicBezTo>
                <a:cubicBezTo>
                  <a:pt x="1917751" y="3727102"/>
                  <a:pt x="1916937" y="3726288"/>
                  <a:pt x="1916937" y="3725473"/>
                </a:cubicBezTo>
                <a:cubicBezTo>
                  <a:pt x="1916937" y="3723844"/>
                  <a:pt x="1918566" y="3723030"/>
                  <a:pt x="1922640" y="3723030"/>
                </a:cubicBezTo>
                <a:close/>
                <a:moveTo>
                  <a:pt x="1594325" y="3719772"/>
                </a:moveTo>
                <a:cubicBezTo>
                  <a:pt x="1595954" y="3719772"/>
                  <a:pt x="1597584" y="3721401"/>
                  <a:pt x="1601657" y="3731989"/>
                </a:cubicBezTo>
                <a:cubicBezTo>
                  <a:pt x="1607360" y="3744207"/>
                  <a:pt x="1659499" y="3882670"/>
                  <a:pt x="1679866" y="3933168"/>
                </a:cubicBezTo>
                <a:cubicBezTo>
                  <a:pt x="1691272" y="3963305"/>
                  <a:pt x="1701048" y="3969006"/>
                  <a:pt x="1708380" y="3970635"/>
                </a:cubicBezTo>
                <a:cubicBezTo>
                  <a:pt x="1713268" y="3972264"/>
                  <a:pt x="1718156" y="3972264"/>
                  <a:pt x="1721415" y="3972264"/>
                </a:cubicBezTo>
                <a:cubicBezTo>
                  <a:pt x="1723044" y="3972264"/>
                  <a:pt x="1724674" y="3972264"/>
                  <a:pt x="1724674" y="3973893"/>
                </a:cubicBezTo>
                <a:cubicBezTo>
                  <a:pt x="1724674" y="3975522"/>
                  <a:pt x="1721415" y="3976336"/>
                  <a:pt x="1718156" y="3976336"/>
                </a:cubicBezTo>
                <a:cubicBezTo>
                  <a:pt x="1713268" y="3976336"/>
                  <a:pt x="1688828" y="3976336"/>
                  <a:pt x="1666017" y="3975522"/>
                </a:cubicBezTo>
                <a:cubicBezTo>
                  <a:pt x="1659499" y="3974707"/>
                  <a:pt x="1656241" y="3974707"/>
                  <a:pt x="1656241" y="3973078"/>
                </a:cubicBezTo>
                <a:cubicBezTo>
                  <a:pt x="1656241" y="3971449"/>
                  <a:pt x="1657055" y="3970635"/>
                  <a:pt x="1658685" y="3970635"/>
                </a:cubicBezTo>
                <a:cubicBezTo>
                  <a:pt x="1660314" y="3969820"/>
                  <a:pt x="1661943" y="3967377"/>
                  <a:pt x="1660314" y="3961675"/>
                </a:cubicBezTo>
                <a:lnTo>
                  <a:pt x="1629356" y="3879412"/>
                </a:lnTo>
                <a:cubicBezTo>
                  <a:pt x="1628541" y="3878597"/>
                  <a:pt x="1627727" y="3877783"/>
                  <a:pt x="1626098" y="3877783"/>
                </a:cubicBezTo>
                <a:lnTo>
                  <a:pt x="1554406" y="3877783"/>
                </a:lnTo>
                <a:cubicBezTo>
                  <a:pt x="1552777" y="3877783"/>
                  <a:pt x="1551962" y="3878597"/>
                  <a:pt x="1551147" y="3880227"/>
                </a:cubicBezTo>
                <a:lnTo>
                  <a:pt x="1530780" y="3939684"/>
                </a:lnTo>
                <a:cubicBezTo>
                  <a:pt x="1527521" y="3947829"/>
                  <a:pt x="1525892" y="3955974"/>
                  <a:pt x="1525892" y="3961675"/>
                </a:cubicBezTo>
                <a:cubicBezTo>
                  <a:pt x="1525892" y="3968191"/>
                  <a:pt x="1533224" y="3971449"/>
                  <a:pt x="1538927" y="3971449"/>
                </a:cubicBezTo>
                <a:lnTo>
                  <a:pt x="1542186" y="3971449"/>
                </a:lnTo>
                <a:cubicBezTo>
                  <a:pt x="1544630" y="3971449"/>
                  <a:pt x="1545444" y="3971449"/>
                  <a:pt x="1545444" y="3973078"/>
                </a:cubicBezTo>
                <a:cubicBezTo>
                  <a:pt x="1545444" y="3974707"/>
                  <a:pt x="1543815" y="3975522"/>
                  <a:pt x="1540556" y="3975522"/>
                </a:cubicBezTo>
                <a:cubicBezTo>
                  <a:pt x="1532410" y="3975522"/>
                  <a:pt x="1518560" y="3974707"/>
                  <a:pt x="1514487" y="3974707"/>
                </a:cubicBezTo>
                <a:lnTo>
                  <a:pt x="1501569" y="3975079"/>
                </a:lnTo>
                <a:lnTo>
                  <a:pt x="1497378" y="3976336"/>
                </a:lnTo>
                <a:lnTo>
                  <a:pt x="1473752" y="3976336"/>
                </a:lnTo>
                <a:cubicBezTo>
                  <a:pt x="1455015" y="3976336"/>
                  <a:pt x="1446868" y="3974707"/>
                  <a:pt x="1437906" y="3969820"/>
                </a:cubicBezTo>
                <a:cubicBezTo>
                  <a:pt x="1424057" y="3962489"/>
                  <a:pt x="1411837" y="3946199"/>
                  <a:pt x="1393099" y="3920951"/>
                </a:cubicBezTo>
                <a:cubicBezTo>
                  <a:pt x="1378435" y="3902217"/>
                  <a:pt x="1362956" y="3880226"/>
                  <a:pt x="1356438" y="3871267"/>
                </a:cubicBezTo>
                <a:cubicBezTo>
                  <a:pt x="1355624" y="3869638"/>
                  <a:pt x="1353995" y="3868823"/>
                  <a:pt x="1352365" y="3868823"/>
                </a:cubicBezTo>
                <a:lnTo>
                  <a:pt x="1311631" y="3868009"/>
                </a:lnTo>
                <a:cubicBezTo>
                  <a:pt x="1310002" y="3868009"/>
                  <a:pt x="1309187" y="3868823"/>
                  <a:pt x="1309187" y="3870452"/>
                </a:cubicBezTo>
                <a:lnTo>
                  <a:pt x="1309187" y="3878597"/>
                </a:lnTo>
                <a:cubicBezTo>
                  <a:pt x="1309187" y="3910362"/>
                  <a:pt x="1309187" y="3937240"/>
                  <a:pt x="1310816" y="3951087"/>
                </a:cubicBezTo>
                <a:cubicBezTo>
                  <a:pt x="1311631" y="3960861"/>
                  <a:pt x="1314075" y="3968191"/>
                  <a:pt x="1323851" y="3969820"/>
                </a:cubicBezTo>
                <a:cubicBezTo>
                  <a:pt x="1327925" y="3970634"/>
                  <a:pt x="1335257" y="3971449"/>
                  <a:pt x="1338516" y="3971449"/>
                </a:cubicBezTo>
                <a:cubicBezTo>
                  <a:pt x="1340145" y="3971449"/>
                  <a:pt x="1340960" y="3972263"/>
                  <a:pt x="1340960" y="3973078"/>
                </a:cubicBezTo>
                <a:cubicBezTo>
                  <a:pt x="1340960" y="3974707"/>
                  <a:pt x="1339330" y="3975521"/>
                  <a:pt x="1335257" y="3975521"/>
                </a:cubicBezTo>
                <a:cubicBezTo>
                  <a:pt x="1317334" y="3975521"/>
                  <a:pt x="1296152" y="3974707"/>
                  <a:pt x="1294523" y="3974707"/>
                </a:cubicBezTo>
                <a:cubicBezTo>
                  <a:pt x="1293708" y="3974707"/>
                  <a:pt x="1272527" y="3975521"/>
                  <a:pt x="1262751" y="3975521"/>
                </a:cubicBezTo>
                <a:cubicBezTo>
                  <a:pt x="1258677" y="3975521"/>
                  <a:pt x="1257048" y="3974707"/>
                  <a:pt x="1257048" y="3973078"/>
                </a:cubicBezTo>
                <a:cubicBezTo>
                  <a:pt x="1257048" y="3972263"/>
                  <a:pt x="1257862" y="3971449"/>
                  <a:pt x="1259492" y="3971449"/>
                </a:cubicBezTo>
                <a:cubicBezTo>
                  <a:pt x="1261936" y="3971449"/>
                  <a:pt x="1266009" y="3970634"/>
                  <a:pt x="1269268" y="3969820"/>
                </a:cubicBezTo>
                <a:cubicBezTo>
                  <a:pt x="1275785" y="3968191"/>
                  <a:pt x="1277415" y="3960861"/>
                  <a:pt x="1279044" y="3951087"/>
                </a:cubicBezTo>
                <a:cubicBezTo>
                  <a:pt x="1280674" y="3937240"/>
                  <a:pt x="1280674" y="3910362"/>
                  <a:pt x="1280674" y="3878597"/>
                </a:cubicBezTo>
                <a:lnTo>
                  <a:pt x="1283117" y="3878597"/>
                </a:lnTo>
                <a:lnTo>
                  <a:pt x="1283117" y="3819954"/>
                </a:lnTo>
                <a:cubicBezTo>
                  <a:pt x="1283117" y="3767827"/>
                  <a:pt x="1283117" y="3758053"/>
                  <a:pt x="1282303" y="3747464"/>
                </a:cubicBezTo>
                <a:cubicBezTo>
                  <a:pt x="1281488" y="3736061"/>
                  <a:pt x="1279044" y="3731175"/>
                  <a:pt x="1267639" y="3728731"/>
                </a:cubicBezTo>
                <a:cubicBezTo>
                  <a:pt x="1265195" y="3727916"/>
                  <a:pt x="1259492" y="3727916"/>
                  <a:pt x="1256233" y="3727916"/>
                </a:cubicBezTo>
                <a:cubicBezTo>
                  <a:pt x="1255418" y="3727916"/>
                  <a:pt x="1253789" y="3727916"/>
                  <a:pt x="1253789" y="3726287"/>
                </a:cubicBezTo>
                <a:cubicBezTo>
                  <a:pt x="1253789" y="3724659"/>
                  <a:pt x="1255418" y="3723844"/>
                  <a:pt x="1259492" y="3723844"/>
                </a:cubicBezTo>
                <a:cubicBezTo>
                  <a:pt x="1274156" y="3723844"/>
                  <a:pt x="1295338" y="3724659"/>
                  <a:pt x="1296967" y="3724659"/>
                </a:cubicBezTo>
                <a:cubicBezTo>
                  <a:pt x="1300226" y="3724659"/>
                  <a:pt x="1325481" y="3723844"/>
                  <a:pt x="1336072" y="3723844"/>
                </a:cubicBezTo>
                <a:cubicBezTo>
                  <a:pt x="1357253" y="3723844"/>
                  <a:pt x="1379250" y="3725473"/>
                  <a:pt x="1397172" y="3738505"/>
                </a:cubicBezTo>
                <a:cubicBezTo>
                  <a:pt x="1405319" y="3745021"/>
                  <a:pt x="1419984" y="3761311"/>
                  <a:pt x="1419984" y="3784116"/>
                </a:cubicBezTo>
                <a:cubicBezTo>
                  <a:pt x="1419984" y="3809365"/>
                  <a:pt x="1409393" y="3833800"/>
                  <a:pt x="1379250" y="3861493"/>
                </a:cubicBezTo>
                <a:cubicBezTo>
                  <a:pt x="1406134" y="3896516"/>
                  <a:pt x="1428945" y="3926652"/>
                  <a:pt x="1448497" y="3947014"/>
                </a:cubicBezTo>
                <a:cubicBezTo>
                  <a:pt x="1457458" y="3956788"/>
                  <a:pt x="1465605" y="3962490"/>
                  <a:pt x="1472530" y="3965951"/>
                </a:cubicBezTo>
                <a:lnTo>
                  <a:pt x="1484648" y="3969940"/>
                </a:lnTo>
                <a:lnTo>
                  <a:pt x="1500739" y="3959945"/>
                </a:lnTo>
                <a:cubicBezTo>
                  <a:pt x="1505118" y="3954346"/>
                  <a:pt x="1508377" y="3947015"/>
                  <a:pt x="1511228" y="3938870"/>
                </a:cubicBezTo>
                <a:lnTo>
                  <a:pt x="1586993" y="3732804"/>
                </a:lnTo>
                <a:cubicBezTo>
                  <a:pt x="1591066" y="3721401"/>
                  <a:pt x="1592696" y="3719772"/>
                  <a:pt x="1594325" y="3719772"/>
                </a:cubicBezTo>
                <a:close/>
                <a:moveTo>
                  <a:pt x="2330793" y="3718143"/>
                </a:moveTo>
                <a:cubicBezTo>
                  <a:pt x="2333237" y="3718143"/>
                  <a:pt x="2338940" y="3725474"/>
                  <a:pt x="2342199" y="3728732"/>
                </a:cubicBezTo>
                <a:cubicBezTo>
                  <a:pt x="2347087" y="3734433"/>
                  <a:pt x="2396782" y="3788189"/>
                  <a:pt x="2448107" y="3843575"/>
                </a:cubicBezTo>
                <a:cubicBezTo>
                  <a:pt x="2481509" y="3878598"/>
                  <a:pt x="2517355" y="3919322"/>
                  <a:pt x="2527946" y="3930725"/>
                </a:cubicBezTo>
                <a:lnTo>
                  <a:pt x="2523872" y="3761311"/>
                </a:lnTo>
                <a:cubicBezTo>
                  <a:pt x="2523872" y="3739320"/>
                  <a:pt x="2521428" y="3731989"/>
                  <a:pt x="2510837" y="3729546"/>
                </a:cubicBezTo>
                <a:cubicBezTo>
                  <a:pt x="2505135" y="3727917"/>
                  <a:pt x="2496988" y="3727917"/>
                  <a:pt x="2494544" y="3727917"/>
                </a:cubicBezTo>
                <a:cubicBezTo>
                  <a:pt x="2492100" y="3727917"/>
                  <a:pt x="2492100" y="3727103"/>
                  <a:pt x="2492100" y="3725474"/>
                </a:cubicBezTo>
                <a:cubicBezTo>
                  <a:pt x="2492100" y="3723845"/>
                  <a:pt x="2494544" y="3723030"/>
                  <a:pt x="2498617" y="3723030"/>
                </a:cubicBezTo>
                <a:cubicBezTo>
                  <a:pt x="2513281" y="3723030"/>
                  <a:pt x="2529575" y="3723845"/>
                  <a:pt x="2533648" y="3723845"/>
                </a:cubicBezTo>
                <a:cubicBezTo>
                  <a:pt x="2536907" y="3723845"/>
                  <a:pt x="2548313" y="3723030"/>
                  <a:pt x="2562162" y="3723030"/>
                </a:cubicBezTo>
                <a:cubicBezTo>
                  <a:pt x="2565421" y="3723030"/>
                  <a:pt x="2567865" y="3723030"/>
                  <a:pt x="2567865" y="3725474"/>
                </a:cubicBezTo>
                <a:cubicBezTo>
                  <a:pt x="2567865" y="3727103"/>
                  <a:pt x="2566235" y="3727917"/>
                  <a:pt x="2563791" y="3727917"/>
                </a:cubicBezTo>
                <a:cubicBezTo>
                  <a:pt x="2562162" y="3727917"/>
                  <a:pt x="2559718" y="3727917"/>
                  <a:pt x="2555645" y="3728732"/>
                </a:cubicBezTo>
                <a:cubicBezTo>
                  <a:pt x="2544239" y="3731175"/>
                  <a:pt x="2543424" y="3738505"/>
                  <a:pt x="2543424" y="3758053"/>
                </a:cubicBezTo>
                <a:lnTo>
                  <a:pt x="2542610" y="3953531"/>
                </a:lnTo>
                <a:cubicBezTo>
                  <a:pt x="2542610" y="3975522"/>
                  <a:pt x="2541795" y="3977151"/>
                  <a:pt x="2539351" y="3977151"/>
                </a:cubicBezTo>
                <a:cubicBezTo>
                  <a:pt x="2536907" y="3977151"/>
                  <a:pt x="2532834" y="3973893"/>
                  <a:pt x="2514911" y="3955974"/>
                </a:cubicBezTo>
                <a:cubicBezTo>
                  <a:pt x="2511652" y="3952716"/>
                  <a:pt x="2462771" y="3903847"/>
                  <a:pt x="2427740" y="3865566"/>
                </a:cubicBezTo>
                <a:cubicBezTo>
                  <a:pt x="2388636" y="3824027"/>
                  <a:pt x="2351160" y="3781674"/>
                  <a:pt x="2340570" y="3769456"/>
                </a:cubicBezTo>
                <a:lnTo>
                  <a:pt x="2347902" y="3929910"/>
                </a:lnTo>
                <a:cubicBezTo>
                  <a:pt x="2348716" y="3957603"/>
                  <a:pt x="2351975" y="3965748"/>
                  <a:pt x="2360937" y="3969006"/>
                </a:cubicBezTo>
                <a:cubicBezTo>
                  <a:pt x="2367454" y="3970635"/>
                  <a:pt x="2374786" y="3970635"/>
                  <a:pt x="2377230" y="3970635"/>
                </a:cubicBezTo>
                <a:cubicBezTo>
                  <a:pt x="2378859" y="3970635"/>
                  <a:pt x="2379674" y="3971449"/>
                  <a:pt x="2379674" y="3972264"/>
                </a:cubicBezTo>
                <a:cubicBezTo>
                  <a:pt x="2379674" y="3973893"/>
                  <a:pt x="2378045" y="3974707"/>
                  <a:pt x="2373971" y="3974707"/>
                </a:cubicBezTo>
                <a:cubicBezTo>
                  <a:pt x="2355234" y="3974707"/>
                  <a:pt x="2341384" y="3973893"/>
                  <a:pt x="2338940" y="3973893"/>
                </a:cubicBezTo>
                <a:cubicBezTo>
                  <a:pt x="2335682" y="3973893"/>
                  <a:pt x="2321832" y="3974707"/>
                  <a:pt x="2307168" y="3974707"/>
                </a:cubicBezTo>
                <a:cubicBezTo>
                  <a:pt x="2303909" y="3974707"/>
                  <a:pt x="2301465" y="3974707"/>
                  <a:pt x="2301465" y="3972264"/>
                </a:cubicBezTo>
                <a:cubicBezTo>
                  <a:pt x="2301465" y="3970635"/>
                  <a:pt x="2302280" y="3970635"/>
                  <a:pt x="2303909" y="3970635"/>
                </a:cubicBezTo>
                <a:cubicBezTo>
                  <a:pt x="2306353" y="3970635"/>
                  <a:pt x="2312870" y="3970635"/>
                  <a:pt x="2317759" y="3969006"/>
                </a:cubicBezTo>
                <a:cubicBezTo>
                  <a:pt x="2325905" y="3966562"/>
                  <a:pt x="2327535" y="3956789"/>
                  <a:pt x="2327535" y="3926653"/>
                </a:cubicBezTo>
                <a:lnTo>
                  <a:pt x="2327535" y="3735248"/>
                </a:lnTo>
                <a:cubicBezTo>
                  <a:pt x="2327535" y="3722215"/>
                  <a:pt x="2328350" y="3718143"/>
                  <a:pt x="2330793" y="3718143"/>
                </a:cubicBezTo>
                <a:close/>
                <a:moveTo>
                  <a:pt x="1682310" y="3718143"/>
                </a:moveTo>
                <a:cubicBezTo>
                  <a:pt x="1684754" y="3718143"/>
                  <a:pt x="1688013" y="3721401"/>
                  <a:pt x="1696974" y="3722215"/>
                </a:cubicBezTo>
                <a:cubicBezTo>
                  <a:pt x="1706750" y="3723030"/>
                  <a:pt x="1718970" y="3723845"/>
                  <a:pt x="1723044" y="3723845"/>
                </a:cubicBezTo>
                <a:lnTo>
                  <a:pt x="1848504" y="3723845"/>
                </a:lnTo>
                <a:cubicBezTo>
                  <a:pt x="1859095" y="3723845"/>
                  <a:pt x="1867242" y="3723030"/>
                  <a:pt x="1872130" y="3722215"/>
                </a:cubicBezTo>
                <a:cubicBezTo>
                  <a:pt x="1877018" y="3721401"/>
                  <a:pt x="1880277" y="3720587"/>
                  <a:pt x="1881091" y="3720587"/>
                </a:cubicBezTo>
                <a:cubicBezTo>
                  <a:pt x="1882721" y="3720587"/>
                  <a:pt x="1882721" y="3722215"/>
                  <a:pt x="1882721" y="3724659"/>
                </a:cubicBezTo>
                <a:cubicBezTo>
                  <a:pt x="1882721" y="3734433"/>
                  <a:pt x="1881906" y="3758053"/>
                  <a:pt x="1881906" y="3761311"/>
                </a:cubicBezTo>
                <a:cubicBezTo>
                  <a:pt x="1881906" y="3764569"/>
                  <a:pt x="1881091" y="3765384"/>
                  <a:pt x="1879462" y="3765384"/>
                </a:cubicBezTo>
                <a:cubicBezTo>
                  <a:pt x="1877832" y="3765384"/>
                  <a:pt x="1877018" y="3764569"/>
                  <a:pt x="1877018" y="3759682"/>
                </a:cubicBezTo>
                <a:lnTo>
                  <a:pt x="1877018" y="3756424"/>
                </a:lnTo>
                <a:cubicBezTo>
                  <a:pt x="1875389" y="3746650"/>
                  <a:pt x="1868056" y="3738505"/>
                  <a:pt x="1836284" y="3737691"/>
                </a:cubicBezTo>
                <a:lnTo>
                  <a:pt x="1793921" y="3736877"/>
                </a:lnTo>
                <a:lnTo>
                  <a:pt x="1793921" y="3878598"/>
                </a:lnTo>
                <a:lnTo>
                  <a:pt x="1794735" y="3878598"/>
                </a:lnTo>
                <a:cubicBezTo>
                  <a:pt x="1794735" y="3910363"/>
                  <a:pt x="1794735" y="3937241"/>
                  <a:pt x="1796365" y="3951087"/>
                </a:cubicBezTo>
                <a:cubicBezTo>
                  <a:pt x="1797179" y="3960861"/>
                  <a:pt x="1799623" y="3968191"/>
                  <a:pt x="1809400" y="3969820"/>
                </a:cubicBezTo>
                <a:cubicBezTo>
                  <a:pt x="1814288" y="3970635"/>
                  <a:pt x="1821620" y="3971449"/>
                  <a:pt x="1824878" y="3971449"/>
                </a:cubicBezTo>
                <a:cubicBezTo>
                  <a:pt x="1826508" y="3971449"/>
                  <a:pt x="1827323" y="3972264"/>
                  <a:pt x="1827323" y="3973079"/>
                </a:cubicBezTo>
                <a:cubicBezTo>
                  <a:pt x="1827323" y="3974707"/>
                  <a:pt x="1825693" y="3975522"/>
                  <a:pt x="1821620" y="3975522"/>
                </a:cubicBezTo>
                <a:cubicBezTo>
                  <a:pt x="1802882" y="3975522"/>
                  <a:pt x="1782515" y="3974707"/>
                  <a:pt x="1780886" y="3974707"/>
                </a:cubicBezTo>
                <a:cubicBezTo>
                  <a:pt x="1779256" y="3974707"/>
                  <a:pt x="1758075" y="3975522"/>
                  <a:pt x="1748299" y="3975522"/>
                </a:cubicBezTo>
                <a:cubicBezTo>
                  <a:pt x="1745040" y="3975522"/>
                  <a:pt x="1742596" y="3974707"/>
                  <a:pt x="1742596" y="3973079"/>
                </a:cubicBezTo>
                <a:cubicBezTo>
                  <a:pt x="1742596" y="3972264"/>
                  <a:pt x="1743411" y="3971449"/>
                  <a:pt x="1745040" y="3971449"/>
                </a:cubicBezTo>
                <a:cubicBezTo>
                  <a:pt x="1748299" y="3971449"/>
                  <a:pt x="1752372" y="3970635"/>
                  <a:pt x="1754816" y="3969820"/>
                </a:cubicBezTo>
                <a:cubicBezTo>
                  <a:pt x="1761334" y="3968191"/>
                  <a:pt x="1762963" y="3960861"/>
                  <a:pt x="1764592" y="3951087"/>
                </a:cubicBezTo>
                <a:cubicBezTo>
                  <a:pt x="1766222" y="3937241"/>
                  <a:pt x="1766222" y="3910363"/>
                  <a:pt x="1766222" y="3878598"/>
                </a:cubicBezTo>
                <a:lnTo>
                  <a:pt x="1766222" y="3737691"/>
                </a:lnTo>
                <a:lnTo>
                  <a:pt x="1716526" y="3738505"/>
                </a:lnTo>
                <a:cubicBezTo>
                  <a:pt x="1696159" y="3738505"/>
                  <a:pt x="1688013" y="3740949"/>
                  <a:pt x="1682310" y="3749094"/>
                </a:cubicBezTo>
                <a:cubicBezTo>
                  <a:pt x="1678236" y="3754795"/>
                  <a:pt x="1677422" y="3757239"/>
                  <a:pt x="1676607" y="3759682"/>
                </a:cubicBezTo>
                <a:cubicBezTo>
                  <a:pt x="1675792" y="3762126"/>
                  <a:pt x="1674978" y="3762940"/>
                  <a:pt x="1673348" y="3762940"/>
                </a:cubicBezTo>
                <a:cubicBezTo>
                  <a:pt x="1672534" y="3762940"/>
                  <a:pt x="1671719" y="3762126"/>
                  <a:pt x="1671719" y="3759682"/>
                </a:cubicBezTo>
                <a:cubicBezTo>
                  <a:pt x="1671719" y="3756424"/>
                  <a:pt x="1678236" y="3727917"/>
                  <a:pt x="1679051" y="3724659"/>
                </a:cubicBezTo>
                <a:cubicBezTo>
                  <a:pt x="1679866" y="3723030"/>
                  <a:pt x="1680681" y="3718143"/>
                  <a:pt x="1682310" y="3718143"/>
                </a:cubicBezTo>
                <a:close/>
                <a:moveTo>
                  <a:pt x="163750" y="3718143"/>
                </a:moveTo>
                <a:cubicBezTo>
                  <a:pt x="176785" y="3718143"/>
                  <a:pt x="195522" y="3718958"/>
                  <a:pt x="211816" y="3722215"/>
                </a:cubicBezTo>
                <a:cubicBezTo>
                  <a:pt x="224851" y="3724659"/>
                  <a:pt x="235442" y="3726288"/>
                  <a:pt x="246033" y="3727103"/>
                </a:cubicBezTo>
                <a:cubicBezTo>
                  <a:pt x="250106" y="3727103"/>
                  <a:pt x="250106" y="3728732"/>
                  <a:pt x="250106" y="3730360"/>
                </a:cubicBezTo>
                <a:cubicBezTo>
                  <a:pt x="250106" y="3732804"/>
                  <a:pt x="249291" y="3736877"/>
                  <a:pt x="248476" y="3749094"/>
                </a:cubicBezTo>
                <a:cubicBezTo>
                  <a:pt x="247662" y="3760497"/>
                  <a:pt x="247662" y="3778415"/>
                  <a:pt x="247662" y="3783302"/>
                </a:cubicBezTo>
                <a:cubicBezTo>
                  <a:pt x="247662" y="3788189"/>
                  <a:pt x="246847" y="3790633"/>
                  <a:pt x="244403" y="3790633"/>
                </a:cubicBezTo>
                <a:cubicBezTo>
                  <a:pt x="241959" y="3790633"/>
                  <a:pt x="241959" y="3788189"/>
                  <a:pt x="241959" y="3783302"/>
                </a:cubicBezTo>
                <a:cubicBezTo>
                  <a:pt x="241959" y="3770271"/>
                  <a:pt x="236256" y="3756424"/>
                  <a:pt x="228110" y="3749094"/>
                </a:cubicBezTo>
                <a:cubicBezTo>
                  <a:pt x="216704" y="3739320"/>
                  <a:pt x="190634" y="3730360"/>
                  <a:pt x="161306" y="3730360"/>
                </a:cubicBezTo>
                <a:cubicBezTo>
                  <a:pt x="116499" y="3730360"/>
                  <a:pt x="96132" y="3743392"/>
                  <a:pt x="84726" y="3754795"/>
                </a:cubicBezTo>
                <a:cubicBezTo>
                  <a:pt x="60286" y="3778415"/>
                  <a:pt x="54583" y="3807737"/>
                  <a:pt x="54583" y="3841945"/>
                </a:cubicBezTo>
                <a:cubicBezTo>
                  <a:pt x="54583" y="3905476"/>
                  <a:pt x="103464" y="3964119"/>
                  <a:pt x="175155" y="3964119"/>
                </a:cubicBezTo>
                <a:cubicBezTo>
                  <a:pt x="200411" y="3964119"/>
                  <a:pt x="219963" y="3960861"/>
                  <a:pt x="232998" y="3947015"/>
                </a:cubicBezTo>
                <a:cubicBezTo>
                  <a:pt x="240330" y="3939684"/>
                  <a:pt x="244403" y="3925023"/>
                  <a:pt x="245218" y="3919322"/>
                </a:cubicBezTo>
                <a:cubicBezTo>
                  <a:pt x="246033" y="3916064"/>
                  <a:pt x="246847" y="3914435"/>
                  <a:pt x="248476" y="3914435"/>
                </a:cubicBezTo>
                <a:cubicBezTo>
                  <a:pt x="250106" y="3914435"/>
                  <a:pt x="250921" y="3916879"/>
                  <a:pt x="250921" y="3919322"/>
                </a:cubicBezTo>
                <a:cubicBezTo>
                  <a:pt x="250921" y="3921765"/>
                  <a:pt x="246847" y="3951087"/>
                  <a:pt x="243588" y="3961676"/>
                </a:cubicBezTo>
                <a:cubicBezTo>
                  <a:pt x="241959" y="3968191"/>
                  <a:pt x="241144" y="3969006"/>
                  <a:pt x="234627" y="3971449"/>
                </a:cubicBezTo>
                <a:cubicBezTo>
                  <a:pt x="221592" y="3977151"/>
                  <a:pt x="195522" y="3978780"/>
                  <a:pt x="174341" y="3978780"/>
                </a:cubicBezTo>
                <a:cubicBezTo>
                  <a:pt x="125460" y="3979594"/>
                  <a:pt x="91244" y="3967377"/>
                  <a:pt x="65174" y="3943757"/>
                </a:cubicBezTo>
                <a:cubicBezTo>
                  <a:pt x="32587" y="3914435"/>
                  <a:pt x="24440" y="3876968"/>
                  <a:pt x="24440" y="3845204"/>
                </a:cubicBezTo>
                <a:cubicBezTo>
                  <a:pt x="24440" y="3823212"/>
                  <a:pt x="31772" y="3784117"/>
                  <a:pt x="61915" y="3753981"/>
                </a:cubicBezTo>
                <a:cubicBezTo>
                  <a:pt x="82282" y="3733618"/>
                  <a:pt x="112425" y="3718143"/>
                  <a:pt x="163750" y="3718143"/>
                </a:cubicBezTo>
                <a:close/>
                <a:moveTo>
                  <a:pt x="2149935" y="3717328"/>
                </a:moveTo>
                <a:cubicBezTo>
                  <a:pt x="2224885" y="3717328"/>
                  <a:pt x="2281098" y="3764568"/>
                  <a:pt x="2281098" y="3842760"/>
                </a:cubicBezTo>
                <a:cubicBezTo>
                  <a:pt x="2281098" y="3917692"/>
                  <a:pt x="2228144" y="3979594"/>
                  <a:pt x="2147491" y="3979594"/>
                </a:cubicBezTo>
                <a:cubicBezTo>
                  <a:pt x="2056247" y="3979594"/>
                  <a:pt x="2017957" y="3908733"/>
                  <a:pt x="2017957" y="3848461"/>
                </a:cubicBezTo>
                <a:cubicBezTo>
                  <a:pt x="2017957" y="3794704"/>
                  <a:pt x="2057061" y="3718142"/>
                  <a:pt x="2149935" y="3717328"/>
                </a:cubicBezTo>
                <a:close/>
                <a:moveTo>
                  <a:pt x="1110406" y="3717328"/>
                </a:moveTo>
                <a:cubicBezTo>
                  <a:pt x="1185356" y="3717328"/>
                  <a:pt x="1241569" y="3764568"/>
                  <a:pt x="1241569" y="3842760"/>
                </a:cubicBezTo>
                <a:cubicBezTo>
                  <a:pt x="1241569" y="3917692"/>
                  <a:pt x="1188615" y="3979594"/>
                  <a:pt x="1107962" y="3979594"/>
                </a:cubicBezTo>
                <a:cubicBezTo>
                  <a:pt x="1016718" y="3979594"/>
                  <a:pt x="978428" y="3908733"/>
                  <a:pt x="978428" y="3848461"/>
                </a:cubicBezTo>
                <a:cubicBezTo>
                  <a:pt x="978428" y="3794704"/>
                  <a:pt x="1017532" y="3718142"/>
                  <a:pt x="1110406" y="3717328"/>
                </a:cubicBezTo>
                <a:close/>
                <a:moveTo>
                  <a:pt x="417115" y="3717328"/>
                </a:moveTo>
                <a:cubicBezTo>
                  <a:pt x="492065" y="3717328"/>
                  <a:pt x="548278" y="3764568"/>
                  <a:pt x="548278" y="3842760"/>
                </a:cubicBezTo>
                <a:cubicBezTo>
                  <a:pt x="548278" y="3917692"/>
                  <a:pt x="495324" y="3979594"/>
                  <a:pt x="414671" y="3979594"/>
                </a:cubicBezTo>
                <a:cubicBezTo>
                  <a:pt x="323427" y="3979594"/>
                  <a:pt x="285137" y="3908733"/>
                  <a:pt x="285137" y="3848461"/>
                </a:cubicBezTo>
                <a:cubicBezTo>
                  <a:pt x="285137" y="3794704"/>
                  <a:pt x="324242" y="3718142"/>
                  <a:pt x="417115" y="3717328"/>
                </a:cubicBezTo>
                <a:close/>
                <a:moveTo>
                  <a:pt x="1120589" y="3245943"/>
                </a:moveTo>
                <a:cubicBezTo>
                  <a:pt x="1119367" y="3245943"/>
                  <a:pt x="1118145" y="3247775"/>
                  <a:pt x="1116923" y="3251440"/>
                </a:cubicBezTo>
                <a:lnTo>
                  <a:pt x="1072116" y="3388274"/>
                </a:lnTo>
                <a:cubicBezTo>
                  <a:pt x="1071301" y="3390718"/>
                  <a:pt x="1072116" y="3391533"/>
                  <a:pt x="1073745" y="3391533"/>
                </a:cubicBezTo>
                <a:lnTo>
                  <a:pt x="1170692" y="3391533"/>
                </a:lnTo>
                <a:cubicBezTo>
                  <a:pt x="1173136" y="3391533"/>
                  <a:pt x="1173136" y="3390718"/>
                  <a:pt x="1172321" y="3388274"/>
                </a:cubicBezTo>
                <a:lnTo>
                  <a:pt x="1124255" y="3251440"/>
                </a:lnTo>
                <a:cubicBezTo>
                  <a:pt x="1123033" y="3247775"/>
                  <a:pt x="1121811" y="3245943"/>
                  <a:pt x="1120589" y="3245943"/>
                </a:cubicBezTo>
                <a:close/>
                <a:moveTo>
                  <a:pt x="2078243" y="3192797"/>
                </a:moveTo>
                <a:cubicBezTo>
                  <a:pt x="2062765" y="3192797"/>
                  <a:pt x="2048915" y="3194426"/>
                  <a:pt x="2044027" y="3196056"/>
                </a:cubicBezTo>
                <a:cubicBezTo>
                  <a:pt x="2041583" y="3196870"/>
                  <a:pt x="2039953" y="3198499"/>
                  <a:pt x="2039953" y="3201757"/>
                </a:cubicBezTo>
                <a:lnTo>
                  <a:pt x="2040768" y="3201757"/>
                </a:lnTo>
                <a:lnTo>
                  <a:pt x="2040768" y="3367913"/>
                </a:lnTo>
                <a:cubicBezTo>
                  <a:pt x="2040768" y="3370356"/>
                  <a:pt x="2041583" y="3371985"/>
                  <a:pt x="2044027" y="3373614"/>
                </a:cubicBezTo>
                <a:cubicBezTo>
                  <a:pt x="2051359" y="3378501"/>
                  <a:pt x="2074985" y="3381759"/>
                  <a:pt x="2096981" y="3381759"/>
                </a:cubicBezTo>
                <a:cubicBezTo>
                  <a:pt x="2109201" y="3381759"/>
                  <a:pt x="2123865" y="3380130"/>
                  <a:pt x="2135271" y="3371985"/>
                </a:cubicBezTo>
                <a:cubicBezTo>
                  <a:pt x="2153194" y="3359768"/>
                  <a:pt x="2166229" y="3332075"/>
                  <a:pt x="2166229" y="3293794"/>
                </a:cubicBezTo>
                <a:cubicBezTo>
                  <a:pt x="2166229" y="3231078"/>
                  <a:pt x="2132827" y="3192797"/>
                  <a:pt x="2078243" y="3192797"/>
                </a:cubicBezTo>
                <a:close/>
                <a:moveTo>
                  <a:pt x="473328" y="3192797"/>
                </a:moveTo>
                <a:cubicBezTo>
                  <a:pt x="457849" y="3192797"/>
                  <a:pt x="444000" y="3194426"/>
                  <a:pt x="439112" y="3196056"/>
                </a:cubicBezTo>
                <a:cubicBezTo>
                  <a:pt x="436667" y="3196870"/>
                  <a:pt x="435038" y="3198499"/>
                  <a:pt x="435038" y="3201757"/>
                </a:cubicBezTo>
                <a:lnTo>
                  <a:pt x="435853" y="3201757"/>
                </a:lnTo>
                <a:lnTo>
                  <a:pt x="435853" y="3367913"/>
                </a:lnTo>
                <a:cubicBezTo>
                  <a:pt x="435853" y="3370356"/>
                  <a:pt x="436667" y="3371985"/>
                  <a:pt x="439112" y="3373614"/>
                </a:cubicBezTo>
                <a:cubicBezTo>
                  <a:pt x="446444" y="3378501"/>
                  <a:pt x="470069" y="3381759"/>
                  <a:pt x="492066" y="3381759"/>
                </a:cubicBezTo>
                <a:cubicBezTo>
                  <a:pt x="504286" y="3381759"/>
                  <a:pt x="518950" y="3380130"/>
                  <a:pt x="530355" y="3371985"/>
                </a:cubicBezTo>
                <a:cubicBezTo>
                  <a:pt x="548278" y="3359768"/>
                  <a:pt x="561313" y="3332075"/>
                  <a:pt x="561313" y="3293794"/>
                </a:cubicBezTo>
                <a:cubicBezTo>
                  <a:pt x="561313" y="3231078"/>
                  <a:pt x="527911" y="3192797"/>
                  <a:pt x="473328" y="3192797"/>
                </a:cubicBezTo>
                <a:close/>
                <a:moveTo>
                  <a:pt x="2246882" y="3177322"/>
                </a:moveTo>
                <a:cubicBezTo>
                  <a:pt x="2256658" y="3177322"/>
                  <a:pt x="2294133" y="3178951"/>
                  <a:pt x="2297391" y="3178951"/>
                </a:cubicBezTo>
                <a:cubicBezTo>
                  <a:pt x="2300650" y="3178951"/>
                  <a:pt x="2320203" y="3177322"/>
                  <a:pt x="2339755" y="3177322"/>
                </a:cubicBezTo>
                <a:cubicBezTo>
                  <a:pt x="2345457" y="3177322"/>
                  <a:pt x="2346272" y="3178951"/>
                  <a:pt x="2346272" y="3180580"/>
                </a:cubicBezTo>
                <a:cubicBezTo>
                  <a:pt x="2346272" y="3182209"/>
                  <a:pt x="2343013" y="3183024"/>
                  <a:pt x="2338940" y="3185467"/>
                </a:cubicBezTo>
                <a:cubicBezTo>
                  <a:pt x="2334867" y="3187096"/>
                  <a:pt x="2332423" y="3190354"/>
                  <a:pt x="2332423" y="3194426"/>
                </a:cubicBezTo>
                <a:cubicBezTo>
                  <a:pt x="2332423" y="3200128"/>
                  <a:pt x="2334867" y="3206643"/>
                  <a:pt x="2338940" y="3213974"/>
                </a:cubicBezTo>
                <a:cubicBezTo>
                  <a:pt x="2347087" y="3228635"/>
                  <a:pt x="2422852" y="3359767"/>
                  <a:pt x="2431813" y="3374429"/>
                </a:cubicBezTo>
                <a:cubicBezTo>
                  <a:pt x="2441590" y="3353252"/>
                  <a:pt x="2505949" y="3242481"/>
                  <a:pt x="2515725" y="3225377"/>
                </a:cubicBezTo>
                <a:cubicBezTo>
                  <a:pt x="2522243" y="3214788"/>
                  <a:pt x="2524687" y="3205829"/>
                  <a:pt x="2524687" y="3199313"/>
                </a:cubicBezTo>
                <a:cubicBezTo>
                  <a:pt x="2524687" y="3191983"/>
                  <a:pt x="2523057" y="3186281"/>
                  <a:pt x="2516540" y="3185467"/>
                </a:cubicBezTo>
                <a:cubicBezTo>
                  <a:pt x="2511652" y="3183838"/>
                  <a:pt x="2509208" y="3183024"/>
                  <a:pt x="2509208" y="3180580"/>
                </a:cubicBezTo>
                <a:cubicBezTo>
                  <a:pt x="2509208" y="3178136"/>
                  <a:pt x="2512466" y="3177322"/>
                  <a:pt x="2517355" y="3177322"/>
                </a:cubicBezTo>
                <a:cubicBezTo>
                  <a:pt x="2530389" y="3177322"/>
                  <a:pt x="2546683" y="3178951"/>
                  <a:pt x="2550756" y="3178951"/>
                </a:cubicBezTo>
                <a:cubicBezTo>
                  <a:pt x="2554015" y="3178951"/>
                  <a:pt x="2590676" y="3177322"/>
                  <a:pt x="2599637" y="3177322"/>
                </a:cubicBezTo>
                <a:cubicBezTo>
                  <a:pt x="2602896" y="3177322"/>
                  <a:pt x="2606154" y="3178136"/>
                  <a:pt x="2606154" y="3180580"/>
                </a:cubicBezTo>
                <a:cubicBezTo>
                  <a:pt x="2606154" y="3183024"/>
                  <a:pt x="2603710" y="3184652"/>
                  <a:pt x="2599637" y="3184652"/>
                </a:cubicBezTo>
                <a:cubicBezTo>
                  <a:pt x="2593934" y="3184652"/>
                  <a:pt x="2584158" y="3186281"/>
                  <a:pt x="2576011" y="3191983"/>
                </a:cubicBezTo>
                <a:cubicBezTo>
                  <a:pt x="2566235" y="3198499"/>
                  <a:pt x="2560533" y="3204200"/>
                  <a:pt x="2549127" y="3218046"/>
                </a:cubicBezTo>
                <a:cubicBezTo>
                  <a:pt x="2532019" y="3238409"/>
                  <a:pt x="2461142" y="3357324"/>
                  <a:pt x="2452180" y="3379315"/>
                </a:cubicBezTo>
                <a:cubicBezTo>
                  <a:pt x="2444848" y="3397234"/>
                  <a:pt x="2444848" y="3413524"/>
                  <a:pt x="2444848" y="3429814"/>
                </a:cubicBezTo>
                <a:lnTo>
                  <a:pt x="2444848" y="3472982"/>
                </a:lnTo>
                <a:cubicBezTo>
                  <a:pt x="2444848" y="3481126"/>
                  <a:pt x="2444848" y="3502303"/>
                  <a:pt x="2446478" y="3523480"/>
                </a:cubicBezTo>
                <a:cubicBezTo>
                  <a:pt x="2447292" y="3538141"/>
                  <a:pt x="2452180" y="3549544"/>
                  <a:pt x="2467659" y="3551172"/>
                </a:cubicBezTo>
                <a:cubicBezTo>
                  <a:pt x="2474991" y="3551987"/>
                  <a:pt x="2485582" y="3553616"/>
                  <a:pt x="2490470" y="3553616"/>
                </a:cubicBezTo>
                <a:cubicBezTo>
                  <a:pt x="2493729" y="3553616"/>
                  <a:pt x="2494544" y="3555245"/>
                  <a:pt x="2494544" y="3556874"/>
                </a:cubicBezTo>
                <a:cubicBezTo>
                  <a:pt x="2494544" y="3559317"/>
                  <a:pt x="2492099" y="3560946"/>
                  <a:pt x="2486397" y="3560946"/>
                </a:cubicBezTo>
                <a:cubicBezTo>
                  <a:pt x="2458698" y="3560946"/>
                  <a:pt x="2426925" y="3559317"/>
                  <a:pt x="2424481" y="3559317"/>
                </a:cubicBezTo>
                <a:cubicBezTo>
                  <a:pt x="2422037" y="3559317"/>
                  <a:pt x="2390265" y="3560946"/>
                  <a:pt x="2374786" y="3560946"/>
                </a:cubicBezTo>
                <a:cubicBezTo>
                  <a:pt x="2369083" y="3560946"/>
                  <a:pt x="2366639" y="3560132"/>
                  <a:pt x="2366639" y="3556874"/>
                </a:cubicBezTo>
                <a:cubicBezTo>
                  <a:pt x="2366639" y="3555245"/>
                  <a:pt x="2367454" y="3553616"/>
                  <a:pt x="2370712" y="3553616"/>
                </a:cubicBezTo>
                <a:cubicBezTo>
                  <a:pt x="2375601" y="3553616"/>
                  <a:pt x="2381303" y="3552801"/>
                  <a:pt x="2386191" y="3551172"/>
                </a:cubicBezTo>
                <a:cubicBezTo>
                  <a:pt x="2395968" y="3549544"/>
                  <a:pt x="2400856" y="3538141"/>
                  <a:pt x="2401670" y="3523480"/>
                </a:cubicBezTo>
                <a:cubicBezTo>
                  <a:pt x="2403300" y="3502303"/>
                  <a:pt x="2403300" y="3481126"/>
                  <a:pt x="2403300" y="3472982"/>
                </a:cubicBezTo>
                <a:lnTo>
                  <a:pt x="2403300" y="3428185"/>
                </a:lnTo>
                <a:lnTo>
                  <a:pt x="2401670" y="3428185"/>
                </a:lnTo>
                <a:cubicBezTo>
                  <a:pt x="2401670" y="3400492"/>
                  <a:pt x="2396782" y="3389904"/>
                  <a:pt x="2390265" y="3375243"/>
                </a:cubicBezTo>
                <a:cubicBezTo>
                  <a:pt x="2387006" y="3367098"/>
                  <a:pt x="2318573" y="3255513"/>
                  <a:pt x="2301465" y="3229449"/>
                </a:cubicBezTo>
                <a:cubicBezTo>
                  <a:pt x="2288430" y="3210716"/>
                  <a:pt x="2276210" y="3197684"/>
                  <a:pt x="2267249" y="3191983"/>
                </a:cubicBezTo>
                <a:cubicBezTo>
                  <a:pt x="2259916" y="3187096"/>
                  <a:pt x="2250140" y="3183838"/>
                  <a:pt x="2245252" y="3183838"/>
                </a:cubicBezTo>
                <a:cubicBezTo>
                  <a:pt x="2242808" y="3183838"/>
                  <a:pt x="2240364" y="3183024"/>
                  <a:pt x="2240364" y="3180580"/>
                </a:cubicBezTo>
                <a:cubicBezTo>
                  <a:pt x="2240364" y="3178136"/>
                  <a:pt x="2242808" y="3177322"/>
                  <a:pt x="2246882" y="3177322"/>
                </a:cubicBezTo>
                <a:close/>
                <a:moveTo>
                  <a:pt x="1560923" y="3176507"/>
                </a:moveTo>
                <a:cubicBezTo>
                  <a:pt x="1583734" y="3176507"/>
                  <a:pt x="1614692" y="3178136"/>
                  <a:pt x="1619580" y="3178136"/>
                </a:cubicBezTo>
                <a:cubicBezTo>
                  <a:pt x="1624468" y="3178136"/>
                  <a:pt x="1654611" y="3176507"/>
                  <a:pt x="1670090" y="3176507"/>
                </a:cubicBezTo>
                <a:cubicBezTo>
                  <a:pt x="1675792" y="3176507"/>
                  <a:pt x="1678236" y="3177322"/>
                  <a:pt x="1678236" y="3180579"/>
                </a:cubicBezTo>
                <a:cubicBezTo>
                  <a:pt x="1678236" y="3183023"/>
                  <a:pt x="1676607" y="3183838"/>
                  <a:pt x="1674163" y="3183838"/>
                </a:cubicBezTo>
                <a:cubicBezTo>
                  <a:pt x="1670904" y="3183838"/>
                  <a:pt x="1667646" y="3184652"/>
                  <a:pt x="1661128" y="3185467"/>
                </a:cubicBezTo>
                <a:cubicBezTo>
                  <a:pt x="1647279" y="3187096"/>
                  <a:pt x="1643205" y="3196869"/>
                  <a:pt x="1642391" y="3213974"/>
                </a:cubicBezTo>
                <a:cubicBezTo>
                  <a:pt x="1641576" y="3230264"/>
                  <a:pt x="1641576" y="3244110"/>
                  <a:pt x="1641576" y="3323115"/>
                </a:cubicBezTo>
                <a:lnTo>
                  <a:pt x="1641576" y="3393976"/>
                </a:lnTo>
                <a:cubicBezTo>
                  <a:pt x="1641576" y="3467280"/>
                  <a:pt x="1657869" y="3498230"/>
                  <a:pt x="1679866" y="3519407"/>
                </a:cubicBezTo>
                <a:cubicBezTo>
                  <a:pt x="1704306" y="3543027"/>
                  <a:pt x="1727117" y="3547100"/>
                  <a:pt x="1756446" y="3547100"/>
                </a:cubicBezTo>
                <a:cubicBezTo>
                  <a:pt x="1787403" y="3547100"/>
                  <a:pt x="1817546" y="3532439"/>
                  <a:pt x="1836284" y="3510448"/>
                </a:cubicBezTo>
                <a:cubicBezTo>
                  <a:pt x="1859910" y="3481941"/>
                  <a:pt x="1865612" y="3438773"/>
                  <a:pt x="1865612" y="3386646"/>
                </a:cubicBezTo>
                <a:lnTo>
                  <a:pt x="1865612" y="3323115"/>
                </a:lnTo>
                <a:cubicBezTo>
                  <a:pt x="1865612" y="3244110"/>
                  <a:pt x="1865612" y="3230264"/>
                  <a:pt x="1864798" y="3213974"/>
                </a:cubicBezTo>
                <a:cubicBezTo>
                  <a:pt x="1863983" y="3196869"/>
                  <a:pt x="1859910" y="3188724"/>
                  <a:pt x="1842801" y="3185467"/>
                </a:cubicBezTo>
                <a:cubicBezTo>
                  <a:pt x="1838728" y="3184652"/>
                  <a:pt x="1829767" y="3183838"/>
                  <a:pt x="1825693" y="3183838"/>
                </a:cubicBezTo>
                <a:cubicBezTo>
                  <a:pt x="1823249" y="3183838"/>
                  <a:pt x="1821620" y="3183023"/>
                  <a:pt x="1821620" y="3180579"/>
                </a:cubicBezTo>
                <a:cubicBezTo>
                  <a:pt x="1821620" y="3177322"/>
                  <a:pt x="1824064" y="3176507"/>
                  <a:pt x="1829767" y="3176507"/>
                </a:cubicBezTo>
                <a:cubicBezTo>
                  <a:pt x="1852577" y="3176507"/>
                  <a:pt x="1880277" y="3178136"/>
                  <a:pt x="1883535" y="3178136"/>
                </a:cubicBezTo>
                <a:cubicBezTo>
                  <a:pt x="1886794" y="3178136"/>
                  <a:pt x="1911234" y="3176507"/>
                  <a:pt x="1925898" y="3176507"/>
                </a:cubicBezTo>
                <a:cubicBezTo>
                  <a:pt x="1931601" y="3176507"/>
                  <a:pt x="1934045" y="3177322"/>
                  <a:pt x="1934045" y="3180579"/>
                </a:cubicBezTo>
                <a:cubicBezTo>
                  <a:pt x="1934045" y="3183023"/>
                  <a:pt x="1931601" y="3183838"/>
                  <a:pt x="1929972" y="3183838"/>
                </a:cubicBezTo>
                <a:cubicBezTo>
                  <a:pt x="1926713" y="3183838"/>
                  <a:pt x="1923454" y="3183838"/>
                  <a:pt x="1916937" y="3185467"/>
                </a:cubicBezTo>
                <a:cubicBezTo>
                  <a:pt x="1903088" y="3187910"/>
                  <a:pt x="1899014" y="3196869"/>
                  <a:pt x="1898199" y="3213974"/>
                </a:cubicBezTo>
                <a:cubicBezTo>
                  <a:pt x="1897385" y="3230264"/>
                  <a:pt x="1897385" y="3244110"/>
                  <a:pt x="1897385" y="3323115"/>
                </a:cubicBezTo>
                <a:lnTo>
                  <a:pt x="1897385" y="3377686"/>
                </a:lnTo>
                <a:cubicBezTo>
                  <a:pt x="1897385" y="3432257"/>
                  <a:pt x="1891682" y="3493344"/>
                  <a:pt x="1850948" y="3529181"/>
                </a:cubicBezTo>
                <a:cubicBezTo>
                  <a:pt x="1814288" y="3561761"/>
                  <a:pt x="1776812" y="3566648"/>
                  <a:pt x="1746669" y="3566648"/>
                </a:cubicBezTo>
                <a:cubicBezTo>
                  <a:pt x="1729561" y="3566648"/>
                  <a:pt x="1678236" y="3564204"/>
                  <a:pt x="1642391" y="3530810"/>
                </a:cubicBezTo>
                <a:cubicBezTo>
                  <a:pt x="1617950" y="3507190"/>
                  <a:pt x="1598398" y="3471352"/>
                  <a:pt x="1598398" y="3397234"/>
                </a:cubicBezTo>
                <a:lnTo>
                  <a:pt x="1598398" y="3323115"/>
                </a:lnTo>
                <a:lnTo>
                  <a:pt x="1596769" y="3323115"/>
                </a:lnTo>
                <a:cubicBezTo>
                  <a:pt x="1596769" y="3244110"/>
                  <a:pt x="1596769" y="3230264"/>
                  <a:pt x="1595954" y="3213974"/>
                </a:cubicBezTo>
                <a:cubicBezTo>
                  <a:pt x="1595139" y="3196869"/>
                  <a:pt x="1591066" y="3188724"/>
                  <a:pt x="1573958" y="3185467"/>
                </a:cubicBezTo>
                <a:cubicBezTo>
                  <a:pt x="1569884" y="3184652"/>
                  <a:pt x="1560923" y="3183838"/>
                  <a:pt x="1556849" y="3183838"/>
                </a:cubicBezTo>
                <a:cubicBezTo>
                  <a:pt x="1554405" y="3183838"/>
                  <a:pt x="1552776" y="3183023"/>
                  <a:pt x="1552776" y="3180579"/>
                </a:cubicBezTo>
                <a:cubicBezTo>
                  <a:pt x="1552776" y="3177322"/>
                  <a:pt x="1555220" y="3176507"/>
                  <a:pt x="1560923" y="3176507"/>
                </a:cubicBezTo>
                <a:close/>
                <a:moveTo>
                  <a:pt x="1963374" y="3174879"/>
                </a:moveTo>
                <a:cubicBezTo>
                  <a:pt x="1986185" y="3174879"/>
                  <a:pt x="2017957" y="3176508"/>
                  <a:pt x="2020401" y="3176508"/>
                </a:cubicBezTo>
                <a:cubicBezTo>
                  <a:pt x="2026104" y="3176508"/>
                  <a:pt x="2064394" y="3174879"/>
                  <a:pt x="2079873" y="3174879"/>
                </a:cubicBezTo>
                <a:cubicBezTo>
                  <a:pt x="2111645" y="3174879"/>
                  <a:pt x="2145862" y="3177322"/>
                  <a:pt x="2172746" y="3196870"/>
                </a:cubicBezTo>
                <a:cubicBezTo>
                  <a:pt x="2185781" y="3206644"/>
                  <a:pt x="2207777" y="3231078"/>
                  <a:pt x="2207777" y="3266101"/>
                </a:cubicBezTo>
                <a:cubicBezTo>
                  <a:pt x="2207777" y="3303568"/>
                  <a:pt x="2192298" y="3341035"/>
                  <a:pt x="2146676" y="3383388"/>
                </a:cubicBezTo>
                <a:cubicBezTo>
                  <a:pt x="2188225" y="3436330"/>
                  <a:pt x="2222442" y="3481127"/>
                  <a:pt x="2251770" y="3512892"/>
                </a:cubicBezTo>
                <a:cubicBezTo>
                  <a:pt x="2279469" y="3542213"/>
                  <a:pt x="2300650" y="3547915"/>
                  <a:pt x="2313685" y="3549544"/>
                </a:cubicBezTo>
                <a:cubicBezTo>
                  <a:pt x="2323462" y="3551173"/>
                  <a:pt x="2329979" y="3551173"/>
                  <a:pt x="2333238" y="3551173"/>
                </a:cubicBezTo>
                <a:cubicBezTo>
                  <a:pt x="2336496" y="3551173"/>
                  <a:pt x="2338126" y="3552802"/>
                  <a:pt x="2338126" y="3554431"/>
                </a:cubicBezTo>
                <a:cubicBezTo>
                  <a:pt x="2338126" y="3557689"/>
                  <a:pt x="2334867" y="3558503"/>
                  <a:pt x="2325905" y="3558503"/>
                </a:cubicBezTo>
                <a:lnTo>
                  <a:pt x="2290060" y="3558503"/>
                </a:lnTo>
                <a:cubicBezTo>
                  <a:pt x="2261546" y="3558503"/>
                  <a:pt x="2248511" y="3556060"/>
                  <a:pt x="2235476" y="3548729"/>
                </a:cubicBezTo>
                <a:cubicBezTo>
                  <a:pt x="2213480" y="3537327"/>
                  <a:pt x="2195557" y="3512892"/>
                  <a:pt x="2167043" y="3474611"/>
                </a:cubicBezTo>
                <a:cubicBezTo>
                  <a:pt x="2145862" y="3446918"/>
                  <a:pt x="2121421" y="3412709"/>
                  <a:pt x="2111645" y="3399678"/>
                </a:cubicBezTo>
                <a:cubicBezTo>
                  <a:pt x="2110016" y="3397234"/>
                  <a:pt x="2108387" y="3396420"/>
                  <a:pt x="2105128" y="3396420"/>
                </a:cubicBezTo>
                <a:lnTo>
                  <a:pt x="2043212" y="3395605"/>
                </a:lnTo>
                <a:cubicBezTo>
                  <a:pt x="2040768" y="3395605"/>
                  <a:pt x="2039953" y="3397234"/>
                  <a:pt x="2039953" y="3399678"/>
                </a:cubicBezTo>
                <a:lnTo>
                  <a:pt x="2039953" y="3411895"/>
                </a:lnTo>
                <a:cubicBezTo>
                  <a:pt x="2039953" y="3460765"/>
                  <a:pt x="2039953" y="3500675"/>
                  <a:pt x="2042398" y="3521851"/>
                </a:cubicBezTo>
                <a:cubicBezTo>
                  <a:pt x="2044027" y="3536512"/>
                  <a:pt x="2046471" y="3547915"/>
                  <a:pt x="2061950" y="3549544"/>
                </a:cubicBezTo>
                <a:cubicBezTo>
                  <a:pt x="2069282" y="3551173"/>
                  <a:pt x="2079873" y="3551987"/>
                  <a:pt x="2084761" y="3551987"/>
                </a:cubicBezTo>
                <a:cubicBezTo>
                  <a:pt x="2088020" y="3551987"/>
                  <a:pt x="2088834" y="3553617"/>
                  <a:pt x="2088834" y="3555245"/>
                </a:cubicBezTo>
                <a:cubicBezTo>
                  <a:pt x="2088834" y="3557689"/>
                  <a:pt x="2086390" y="3559318"/>
                  <a:pt x="2080687" y="3559318"/>
                </a:cubicBezTo>
                <a:cubicBezTo>
                  <a:pt x="2052988" y="3559318"/>
                  <a:pt x="2021216" y="3557689"/>
                  <a:pt x="2018772" y="3557689"/>
                </a:cubicBezTo>
                <a:cubicBezTo>
                  <a:pt x="2017957" y="3557689"/>
                  <a:pt x="1986185" y="3559318"/>
                  <a:pt x="1970706" y="3559318"/>
                </a:cubicBezTo>
                <a:cubicBezTo>
                  <a:pt x="1965003" y="3559318"/>
                  <a:pt x="1962559" y="3558503"/>
                  <a:pt x="1962559" y="3555245"/>
                </a:cubicBezTo>
                <a:cubicBezTo>
                  <a:pt x="1962559" y="3553617"/>
                  <a:pt x="1963374" y="3551987"/>
                  <a:pt x="1966632" y="3551987"/>
                </a:cubicBezTo>
                <a:cubicBezTo>
                  <a:pt x="1971521" y="3551987"/>
                  <a:pt x="1977223" y="3550358"/>
                  <a:pt x="1982112" y="3549544"/>
                </a:cubicBezTo>
                <a:cubicBezTo>
                  <a:pt x="1991888" y="3547915"/>
                  <a:pt x="1994332" y="3536512"/>
                  <a:pt x="1996776" y="3521851"/>
                </a:cubicBezTo>
                <a:cubicBezTo>
                  <a:pt x="1999220" y="3500675"/>
                  <a:pt x="1999220" y="3460765"/>
                  <a:pt x="1999220" y="3411895"/>
                </a:cubicBezTo>
                <a:lnTo>
                  <a:pt x="1999220" y="3321487"/>
                </a:lnTo>
                <a:cubicBezTo>
                  <a:pt x="1999220" y="3242482"/>
                  <a:pt x="1999220" y="3228635"/>
                  <a:pt x="1998405" y="3212345"/>
                </a:cubicBezTo>
                <a:cubicBezTo>
                  <a:pt x="1997590" y="3195241"/>
                  <a:pt x="1993517" y="3187096"/>
                  <a:pt x="1976409" y="3183838"/>
                </a:cubicBezTo>
                <a:cubicBezTo>
                  <a:pt x="1972335" y="3183024"/>
                  <a:pt x="1964189" y="3182209"/>
                  <a:pt x="1959300" y="3182209"/>
                </a:cubicBezTo>
                <a:cubicBezTo>
                  <a:pt x="1956856" y="3182209"/>
                  <a:pt x="1955227" y="3181395"/>
                  <a:pt x="1955227" y="3178951"/>
                </a:cubicBezTo>
                <a:cubicBezTo>
                  <a:pt x="1955227" y="3175693"/>
                  <a:pt x="1957671" y="3174879"/>
                  <a:pt x="1963374" y="3174879"/>
                </a:cubicBezTo>
                <a:close/>
                <a:moveTo>
                  <a:pt x="911625" y="3172435"/>
                </a:moveTo>
                <a:cubicBezTo>
                  <a:pt x="913254" y="3172435"/>
                  <a:pt x="914069" y="3174064"/>
                  <a:pt x="914069" y="3177322"/>
                </a:cubicBezTo>
                <a:cubicBezTo>
                  <a:pt x="914069" y="3180580"/>
                  <a:pt x="911625" y="3187096"/>
                  <a:pt x="909996" y="3200942"/>
                </a:cubicBezTo>
                <a:cubicBezTo>
                  <a:pt x="909181" y="3205829"/>
                  <a:pt x="908366" y="3228635"/>
                  <a:pt x="907552" y="3234336"/>
                </a:cubicBezTo>
                <a:cubicBezTo>
                  <a:pt x="906737" y="3236780"/>
                  <a:pt x="905922" y="3240038"/>
                  <a:pt x="904293" y="3240038"/>
                </a:cubicBezTo>
                <a:cubicBezTo>
                  <a:pt x="901034" y="3240038"/>
                  <a:pt x="900219" y="3237594"/>
                  <a:pt x="900219" y="3233522"/>
                </a:cubicBezTo>
                <a:cubicBezTo>
                  <a:pt x="900219" y="3230264"/>
                  <a:pt x="899405" y="3221304"/>
                  <a:pt x="896961" y="3215603"/>
                </a:cubicBezTo>
                <a:cubicBezTo>
                  <a:pt x="893702" y="3207458"/>
                  <a:pt x="887999" y="3201757"/>
                  <a:pt x="861115" y="3198499"/>
                </a:cubicBezTo>
                <a:cubicBezTo>
                  <a:pt x="852153" y="3197684"/>
                  <a:pt x="797570" y="3196870"/>
                  <a:pt x="791867" y="3196870"/>
                </a:cubicBezTo>
                <a:cubicBezTo>
                  <a:pt x="790238" y="3196870"/>
                  <a:pt x="788609" y="3198499"/>
                  <a:pt x="788609" y="3201757"/>
                </a:cubicBezTo>
                <a:lnTo>
                  <a:pt x="788609" y="3341849"/>
                </a:lnTo>
                <a:cubicBezTo>
                  <a:pt x="788609" y="3345107"/>
                  <a:pt x="789423" y="3346736"/>
                  <a:pt x="791867" y="3346736"/>
                </a:cubicBezTo>
                <a:cubicBezTo>
                  <a:pt x="798385" y="3346736"/>
                  <a:pt x="861115" y="3346736"/>
                  <a:pt x="872520" y="3345922"/>
                </a:cubicBezTo>
                <a:cubicBezTo>
                  <a:pt x="884741" y="3345107"/>
                  <a:pt x="892073" y="3343478"/>
                  <a:pt x="896146" y="3338591"/>
                </a:cubicBezTo>
                <a:cubicBezTo>
                  <a:pt x="899405" y="3334519"/>
                  <a:pt x="901849" y="3332075"/>
                  <a:pt x="903478" y="3332075"/>
                </a:cubicBezTo>
                <a:cubicBezTo>
                  <a:pt x="905108" y="3332075"/>
                  <a:pt x="905922" y="3332890"/>
                  <a:pt x="905922" y="3336148"/>
                </a:cubicBezTo>
                <a:cubicBezTo>
                  <a:pt x="905922" y="3339405"/>
                  <a:pt x="903478" y="3347550"/>
                  <a:pt x="901849" y="3364655"/>
                </a:cubicBezTo>
                <a:cubicBezTo>
                  <a:pt x="901034" y="3374429"/>
                  <a:pt x="899405" y="3393162"/>
                  <a:pt x="899405" y="3397234"/>
                </a:cubicBezTo>
                <a:cubicBezTo>
                  <a:pt x="899405" y="3401307"/>
                  <a:pt x="899405" y="3407008"/>
                  <a:pt x="896146" y="3407008"/>
                </a:cubicBezTo>
                <a:cubicBezTo>
                  <a:pt x="893702" y="3407008"/>
                  <a:pt x="892887" y="3405379"/>
                  <a:pt x="892887" y="3402121"/>
                </a:cubicBezTo>
                <a:cubicBezTo>
                  <a:pt x="892887" y="3397234"/>
                  <a:pt x="892887" y="3392347"/>
                  <a:pt x="890443" y="3385017"/>
                </a:cubicBezTo>
                <a:cubicBezTo>
                  <a:pt x="888814" y="3377686"/>
                  <a:pt x="883926" y="3369542"/>
                  <a:pt x="864374" y="3367098"/>
                </a:cubicBezTo>
                <a:cubicBezTo>
                  <a:pt x="850524" y="3365469"/>
                  <a:pt x="800829" y="3364655"/>
                  <a:pt x="791867" y="3364655"/>
                </a:cubicBezTo>
                <a:cubicBezTo>
                  <a:pt x="789423" y="3364655"/>
                  <a:pt x="788609" y="3366284"/>
                  <a:pt x="788609" y="3367912"/>
                </a:cubicBezTo>
                <a:lnTo>
                  <a:pt x="788609" y="3412709"/>
                </a:lnTo>
                <a:cubicBezTo>
                  <a:pt x="788609" y="3429814"/>
                  <a:pt x="787794" y="3488457"/>
                  <a:pt x="788609" y="3499046"/>
                </a:cubicBezTo>
                <a:cubicBezTo>
                  <a:pt x="790238" y="3534068"/>
                  <a:pt x="797570" y="3540584"/>
                  <a:pt x="847265" y="3540584"/>
                </a:cubicBezTo>
                <a:cubicBezTo>
                  <a:pt x="860300" y="3540584"/>
                  <a:pt x="883111" y="3540584"/>
                  <a:pt x="896146" y="3534883"/>
                </a:cubicBezTo>
                <a:cubicBezTo>
                  <a:pt x="909181" y="3529182"/>
                  <a:pt x="915698" y="3519408"/>
                  <a:pt x="918957" y="3498231"/>
                </a:cubicBezTo>
                <a:cubicBezTo>
                  <a:pt x="919772" y="3492530"/>
                  <a:pt x="920586" y="3490901"/>
                  <a:pt x="923845" y="3490901"/>
                </a:cubicBezTo>
                <a:cubicBezTo>
                  <a:pt x="927104" y="3490901"/>
                  <a:pt x="927104" y="3494973"/>
                  <a:pt x="927104" y="3498231"/>
                </a:cubicBezTo>
                <a:cubicBezTo>
                  <a:pt x="927104" y="3502303"/>
                  <a:pt x="923030" y="3536512"/>
                  <a:pt x="920586" y="3547100"/>
                </a:cubicBezTo>
                <a:cubicBezTo>
                  <a:pt x="917328" y="3560132"/>
                  <a:pt x="913254" y="3560132"/>
                  <a:pt x="892887" y="3560132"/>
                </a:cubicBezTo>
                <a:cubicBezTo>
                  <a:pt x="816308" y="3560132"/>
                  <a:pt x="782091" y="3556874"/>
                  <a:pt x="767427" y="3556874"/>
                </a:cubicBezTo>
                <a:cubicBezTo>
                  <a:pt x="766612" y="3556874"/>
                  <a:pt x="757651" y="3557689"/>
                  <a:pt x="747060" y="3557689"/>
                </a:cubicBezTo>
                <a:lnTo>
                  <a:pt x="724949" y="3558303"/>
                </a:lnTo>
                <a:lnTo>
                  <a:pt x="722619" y="3558503"/>
                </a:lnTo>
                <a:lnTo>
                  <a:pt x="717732" y="3558503"/>
                </a:lnTo>
                <a:lnTo>
                  <a:pt x="686774" y="3558503"/>
                </a:lnTo>
                <a:cubicBezTo>
                  <a:pt x="658260" y="3558503"/>
                  <a:pt x="645225" y="3556060"/>
                  <a:pt x="632190" y="3548729"/>
                </a:cubicBezTo>
                <a:cubicBezTo>
                  <a:pt x="610194" y="3537327"/>
                  <a:pt x="592271" y="3512892"/>
                  <a:pt x="563757" y="3474611"/>
                </a:cubicBezTo>
                <a:cubicBezTo>
                  <a:pt x="542576" y="3446918"/>
                  <a:pt x="518135" y="3412709"/>
                  <a:pt x="508359" y="3399678"/>
                </a:cubicBezTo>
                <a:cubicBezTo>
                  <a:pt x="506730" y="3397234"/>
                  <a:pt x="505100" y="3396420"/>
                  <a:pt x="501842" y="3396420"/>
                </a:cubicBezTo>
                <a:lnTo>
                  <a:pt x="439112" y="3395605"/>
                </a:lnTo>
                <a:cubicBezTo>
                  <a:pt x="436667" y="3395605"/>
                  <a:pt x="435853" y="3397234"/>
                  <a:pt x="435853" y="3399678"/>
                </a:cubicBezTo>
                <a:lnTo>
                  <a:pt x="435853" y="3411895"/>
                </a:lnTo>
                <a:cubicBezTo>
                  <a:pt x="435853" y="3460765"/>
                  <a:pt x="435853" y="3500675"/>
                  <a:pt x="438297" y="3521851"/>
                </a:cubicBezTo>
                <a:cubicBezTo>
                  <a:pt x="439926" y="3536512"/>
                  <a:pt x="442370" y="3547915"/>
                  <a:pt x="457849" y="3549544"/>
                </a:cubicBezTo>
                <a:cubicBezTo>
                  <a:pt x="465181" y="3551173"/>
                  <a:pt x="475772" y="3551987"/>
                  <a:pt x="480660" y="3551987"/>
                </a:cubicBezTo>
                <a:cubicBezTo>
                  <a:pt x="483919" y="3551987"/>
                  <a:pt x="484733" y="3553617"/>
                  <a:pt x="484733" y="3555245"/>
                </a:cubicBezTo>
                <a:cubicBezTo>
                  <a:pt x="484733" y="3557689"/>
                  <a:pt x="482289" y="3559318"/>
                  <a:pt x="476587" y="3559318"/>
                </a:cubicBezTo>
                <a:cubicBezTo>
                  <a:pt x="448073" y="3559318"/>
                  <a:pt x="416301" y="3557689"/>
                  <a:pt x="413856" y="3557689"/>
                </a:cubicBezTo>
                <a:cubicBezTo>
                  <a:pt x="413856" y="3557689"/>
                  <a:pt x="382084" y="3559318"/>
                  <a:pt x="366605" y="3559318"/>
                </a:cubicBezTo>
                <a:cubicBezTo>
                  <a:pt x="360902" y="3559318"/>
                  <a:pt x="358458" y="3558503"/>
                  <a:pt x="358458" y="3555245"/>
                </a:cubicBezTo>
                <a:cubicBezTo>
                  <a:pt x="358458" y="3553617"/>
                  <a:pt x="359273" y="3551987"/>
                  <a:pt x="362532" y="3551987"/>
                </a:cubicBezTo>
                <a:cubicBezTo>
                  <a:pt x="367420" y="3551987"/>
                  <a:pt x="373123" y="3550358"/>
                  <a:pt x="378011" y="3549544"/>
                </a:cubicBezTo>
                <a:cubicBezTo>
                  <a:pt x="387787" y="3547915"/>
                  <a:pt x="390231" y="3536512"/>
                  <a:pt x="392675" y="3521851"/>
                </a:cubicBezTo>
                <a:cubicBezTo>
                  <a:pt x="395119" y="3500675"/>
                  <a:pt x="395119" y="3460765"/>
                  <a:pt x="395119" y="3411895"/>
                </a:cubicBezTo>
                <a:lnTo>
                  <a:pt x="395934" y="3411895"/>
                </a:lnTo>
                <a:lnTo>
                  <a:pt x="395934" y="3321487"/>
                </a:lnTo>
                <a:cubicBezTo>
                  <a:pt x="395934" y="3242482"/>
                  <a:pt x="395934" y="3228635"/>
                  <a:pt x="395119" y="3212345"/>
                </a:cubicBezTo>
                <a:cubicBezTo>
                  <a:pt x="393490" y="3195241"/>
                  <a:pt x="390231" y="3187096"/>
                  <a:pt x="373123" y="3183838"/>
                </a:cubicBezTo>
                <a:cubicBezTo>
                  <a:pt x="369049" y="3183024"/>
                  <a:pt x="360902" y="3182209"/>
                  <a:pt x="356014" y="3182209"/>
                </a:cubicBezTo>
                <a:cubicBezTo>
                  <a:pt x="354385" y="3182209"/>
                  <a:pt x="351941" y="3181395"/>
                  <a:pt x="351941" y="3178951"/>
                </a:cubicBezTo>
                <a:cubicBezTo>
                  <a:pt x="351941" y="3175693"/>
                  <a:pt x="354385" y="3174879"/>
                  <a:pt x="360088" y="3174879"/>
                </a:cubicBezTo>
                <a:cubicBezTo>
                  <a:pt x="382899" y="3174879"/>
                  <a:pt x="414671" y="3176508"/>
                  <a:pt x="417115" y="3176508"/>
                </a:cubicBezTo>
                <a:cubicBezTo>
                  <a:pt x="422003" y="3176508"/>
                  <a:pt x="461108" y="3174879"/>
                  <a:pt x="476587" y="3174879"/>
                </a:cubicBezTo>
                <a:cubicBezTo>
                  <a:pt x="508359" y="3174879"/>
                  <a:pt x="542576" y="3177322"/>
                  <a:pt x="569460" y="3196870"/>
                </a:cubicBezTo>
                <a:cubicBezTo>
                  <a:pt x="582495" y="3206644"/>
                  <a:pt x="604491" y="3231078"/>
                  <a:pt x="604491" y="3266101"/>
                </a:cubicBezTo>
                <a:cubicBezTo>
                  <a:pt x="604491" y="3303568"/>
                  <a:pt x="589012" y="3341035"/>
                  <a:pt x="543390" y="3383388"/>
                </a:cubicBezTo>
                <a:cubicBezTo>
                  <a:pt x="584939" y="3436330"/>
                  <a:pt x="619155" y="3481127"/>
                  <a:pt x="648484" y="3512892"/>
                </a:cubicBezTo>
                <a:cubicBezTo>
                  <a:pt x="676183" y="3542213"/>
                  <a:pt x="697364" y="3547915"/>
                  <a:pt x="710399" y="3549544"/>
                </a:cubicBezTo>
                <a:lnTo>
                  <a:pt x="719286" y="3550285"/>
                </a:lnTo>
                <a:lnTo>
                  <a:pt x="729137" y="3548729"/>
                </a:lnTo>
                <a:cubicBezTo>
                  <a:pt x="738913" y="3547100"/>
                  <a:pt x="742172" y="3535698"/>
                  <a:pt x="743801" y="3521037"/>
                </a:cubicBezTo>
                <a:cubicBezTo>
                  <a:pt x="746245" y="3499860"/>
                  <a:pt x="746245" y="3459950"/>
                  <a:pt x="746245" y="3411081"/>
                </a:cubicBezTo>
                <a:lnTo>
                  <a:pt x="746245" y="3323116"/>
                </a:lnTo>
                <a:lnTo>
                  <a:pt x="745431" y="3323116"/>
                </a:lnTo>
                <a:cubicBezTo>
                  <a:pt x="745431" y="3244110"/>
                  <a:pt x="745431" y="3230264"/>
                  <a:pt x="744616" y="3213974"/>
                </a:cubicBezTo>
                <a:cubicBezTo>
                  <a:pt x="743801" y="3196870"/>
                  <a:pt x="739728" y="3188725"/>
                  <a:pt x="722620" y="3185467"/>
                </a:cubicBezTo>
                <a:cubicBezTo>
                  <a:pt x="718546" y="3184652"/>
                  <a:pt x="709585" y="3183838"/>
                  <a:pt x="705511" y="3183838"/>
                </a:cubicBezTo>
                <a:cubicBezTo>
                  <a:pt x="703882" y="3183838"/>
                  <a:pt x="701438" y="3183024"/>
                  <a:pt x="701438" y="3180580"/>
                </a:cubicBezTo>
                <a:cubicBezTo>
                  <a:pt x="701438" y="3177322"/>
                  <a:pt x="703882" y="3176507"/>
                  <a:pt x="709585" y="3176507"/>
                </a:cubicBezTo>
                <a:cubicBezTo>
                  <a:pt x="732396" y="3176507"/>
                  <a:pt x="764168" y="3178137"/>
                  <a:pt x="766612" y="3178137"/>
                </a:cubicBezTo>
                <a:cubicBezTo>
                  <a:pt x="769871" y="3178137"/>
                  <a:pt x="870891" y="3178137"/>
                  <a:pt x="882296" y="3177322"/>
                </a:cubicBezTo>
                <a:cubicBezTo>
                  <a:pt x="892073" y="3176507"/>
                  <a:pt x="900219" y="3175693"/>
                  <a:pt x="904293" y="3174879"/>
                </a:cubicBezTo>
                <a:cubicBezTo>
                  <a:pt x="906737" y="3174064"/>
                  <a:pt x="909181" y="3172435"/>
                  <a:pt x="911625" y="3172435"/>
                </a:cubicBezTo>
                <a:close/>
                <a:moveTo>
                  <a:pt x="1450942" y="3168362"/>
                </a:moveTo>
                <a:cubicBezTo>
                  <a:pt x="1470494" y="3168362"/>
                  <a:pt x="1485158" y="3169991"/>
                  <a:pt x="1498193" y="3173249"/>
                </a:cubicBezTo>
                <a:cubicBezTo>
                  <a:pt x="1507969" y="3175693"/>
                  <a:pt x="1512043" y="3175693"/>
                  <a:pt x="1516116" y="3175693"/>
                </a:cubicBezTo>
                <a:cubicBezTo>
                  <a:pt x="1520189" y="3175693"/>
                  <a:pt x="1521004" y="3176507"/>
                  <a:pt x="1521004" y="3178951"/>
                </a:cubicBezTo>
                <a:cubicBezTo>
                  <a:pt x="1521004" y="3181394"/>
                  <a:pt x="1519375" y="3198498"/>
                  <a:pt x="1519375" y="3232707"/>
                </a:cubicBezTo>
                <a:cubicBezTo>
                  <a:pt x="1519375" y="3240852"/>
                  <a:pt x="1518560" y="3244110"/>
                  <a:pt x="1516116" y="3244110"/>
                </a:cubicBezTo>
                <a:cubicBezTo>
                  <a:pt x="1512857" y="3244110"/>
                  <a:pt x="1512857" y="3241666"/>
                  <a:pt x="1512043" y="3237594"/>
                </a:cubicBezTo>
                <a:cubicBezTo>
                  <a:pt x="1511228" y="3231893"/>
                  <a:pt x="1508784" y="3218046"/>
                  <a:pt x="1505525" y="3212345"/>
                </a:cubicBezTo>
                <a:cubicBezTo>
                  <a:pt x="1502266" y="3206643"/>
                  <a:pt x="1488417" y="3185467"/>
                  <a:pt x="1441980" y="3185467"/>
                </a:cubicBezTo>
                <a:cubicBezTo>
                  <a:pt x="1406949" y="3185467"/>
                  <a:pt x="1380065" y="3207458"/>
                  <a:pt x="1380065" y="3244110"/>
                </a:cubicBezTo>
                <a:cubicBezTo>
                  <a:pt x="1380065" y="3272617"/>
                  <a:pt x="1393914" y="3290535"/>
                  <a:pt x="1441980" y="3329631"/>
                </a:cubicBezTo>
                <a:lnTo>
                  <a:pt x="1455830" y="3341034"/>
                </a:lnTo>
                <a:cubicBezTo>
                  <a:pt x="1515301" y="3388274"/>
                  <a:pt x="1529966" y="3419225"/>
                  <a:pt x="1529966" y="3459950"/>
                </a:cubicBezTo>
                <a:cubicBezTo>
                  <a:pt x="1529966" y="3481126"/>
                  <a:pt x="1521819" y="3519407"/>
                  <a:pt x="1486788" y="3543842"/>
                </a:cubicBezTo>
                <a:cubicBezTo>
                  <a:pt x="1464791" y="3559317"/>
                  <a:pt x="1437907" y="3565018"/>
                  <a:pt x="1410208" y="3565018"/>
                </a:cubicBezTo>
                <a:cubicBezTo>
                  <a:pt x="1385768" y="3566647"/>
                  <a:pt x="1362957" y="3562575"/>
                  <a:pt x="1341775" y="3552801"/>
                </a:cubicBezTo>
                <a:cubicBezTo>
                  <a:pt x="1334443" y="3549543"/>
                  <a:pt x="1334443" y="3547100"/>
                  <a:pt x="1334443" y="3533254"/>
                </a:cubicBezTo>
                <a:cubicBezTo>
                  <a:pt x="1334443" y="3508004"/>
                  <a:pt x="1336887" y="3487642"/>
                  <a:pt x="1336887" y="3479497"/>
                </a:cubicBezTo>
                <a:cubicBezTo>
                  <a:pt x="1337702" y="3473796"/>
                  <a:pt x="1338516" y="3471352"/>
                  <a:pt x="1340960" y="3471352"/>
                </a:cubicBezTo>
                <a:cubicBezTo>
                  <a:pt x="1344219" y="3471352"/>
                  <a:pt x="1344219" y="3472981"/>
                  <a:pt x="1344219" y="3477054"/>
                </a:cubicBezTo>
                <a:cubicBezTo>
                  <a:pt x="1344219" y="3481940"/>
                  <a:pt x="1344219" y="3488457"/>
                  <a:pt x="1345848" y="3495787"/>
                </a:cubicBezTo>
                <a:cubicBezTo>
                  <a:pt x="1353180" y="3533254"/>
                  <a:pt x="1386582" y="3547100"/>
                  <a:pt x="1420799" y="3547100"/>
                </a:cubicBezTo>
                <a:cubicBezTo>
                  <a:pt x="1469679" y="3547100"/>
                  <a:pt x="1493305" y="3512077"/>
                  <a:pt x="1493305" y="3479497"/>
                </a:cubicBezTo>
                <a:cubicBezTo>
                  <a:pt x="1493305" y="3444474"/>
                  <a:pt x="1478641" y="3424112"/>
                  <a:pt x="1434648" y="3388274"/>
                </a:cubicBezTo>
                <a:lnTo>
                  <a:pt x="1411837" y="3369541"/>
                </a:lnTo>
                <a:cubicBezTo>
                  <a:pt x="1358069" y="3325559"/>
                  <a:pt x="1345848" y="3293794"/>
                  <a:pt x="1345848" y="3259585"/>
                </a:cubicBezTo>
                <a:cubicBezTo>
                  <a:pt x="1345848" y="3205014"/>
                  <a:pt x="1386582" y="3168362"/>
                  <a:pt x="1450942" y="3168362"/>
                </a:cubicBezTo>
                <a:close/>
                <a:moveTo>
                  <a:pt x="1129143" y="3167548"/>
                </a:moveTo>
                <a:cubicBezTo>
                  <a:pt x="1132402" y="3167548"/>
                  <a:pt x="1134846" y="3169991"/>
                  <a:pt x="1140549" y="3185467"/>
                </a:cubicBezTo>
                <a:cubicBezTo>
                  <a:pt x="1147881" y="3205014"/>
                  <a:pt x="1227719" y="3413524"/>
                  <a:pt x="1258677" y="3490900"/>
                </a:cubicBezTo>
                <a:cubicBezTo>
                  <a:pt x="1276600" y="3535697"/>
                  <a:pt x="1291264" y="3543842"/>
                  <a:pt x="1301855" y="3547100"/>
                </a:cubicBezTo>
                <a:cubicBezTo>
                  <a:pt x="1309187" y="3549544"/>
                  <a:pt x="1317334" y="3550358"/>
                  <a:pt x="1322222" y="3550358"/>
                </a:cubicBezTo>
                <a:cubicBezTo>
                  <a:pt x="1325481" y="3550358"/>
                  <a:pt x="1327110" y="3551172"/>
                  <a:pt x="1327110" y="3553616"/>
                </a:cubicBezTo>
                <a:cubicBezTo>
                  <a:pt x="1327110" y="3556874"/>
                  <a:pt x="1323037" y="3557689"/>
                  <a:pt x="1317334" y="3557689"/>
                </a:cubicBezTo>
                <a:cubicBezTo>
                  <a:pt x="1309187" y="3557689"/>
                  <a:pt x="1272527" y="3557689"/>
                  <a:pt x="1237495" y="3556874"/>
                </a:cubicBezTo>
                <a:cubicBezTo>
                  <a:pt x="1227719" y="3556874"/>
                  <a:pt x="1222017" y="3556874"/>
                  <a:pt x="1222017" y="3553616"/>
                </a:cubicBezTo>
                <a:cubicBezTo>
                  <a:pt x="1222017" y="3551987"/>
                  <a:pt x="1223646" y="3551172"/>
                  <a:pt x="1225275" y="3550358"/>
                </a:cubicBezTo>
                <a:cubicBezTo>
                  <a:pt x="1228534" y="3549544"/>
                  <a:pt x="1231793" y="3544656"/>
                  <a:pt x="1228534" y="3536512"/>
                </a:cubicBezTo>
                <a:lnTo>
                  <a:pt x="1181283" y="3411895"/>
                </a:lnTo>
                <a:cubicBezTo>
                  <a:pt x="1179653" y="3409451"/>
                  <a:pt x="1178839" y="3408637"/>
                  <a:pt x="1176394" y="3408637"/>
                </a:cubicBezTo>
                <a:lnTo>
                  <a:pt x="1067228" y="3408637"/>
                </a:lnTo>
                <a:cubicBezTo>
                  <a:pt x="1064784" y="3408637"/>
                  <a:pt x="1063154" y="3410266"/>
                  <a:pt x="1062340" y="3412709"/>
                </a:cubicBezTo>
                <a:lnTo>
                  <a:pt x="1032197" y="3502303"/>
                </a:lnTo>
                <a:cubicBezTo>
                  <a:pt x="1027309" y="3515335"/>
                  <a:pt x="1024865" y="3527552"/>
                  <a:pt x="1024865" y="3536512"/>
                </a:cubicBezTo>
                <a:cubicBezTo>
                  <a:pt x="1024865" y="3546286"/>
                  <a:pt x="1035455" y="3551172"/>
                  <a:pt x="1044417" y="3551172"/>
                </a:cubicBezTo>
                <a:lnTo>
                  <a:pt x="1049305" y="3551172"/>
                </a:lnTo>
                <a:cubicBezTo>
                  <a:pt x="1052564" y="3551172"/>
                  <a:pt x="1054193" y="3551987"/>
                  <a:pt x="1054193" y="3554430"/>
                </a:cubicBezTo>
                <a:cubicBezTo>
                  <a:pt x="1054193" y="3557689"/>
                  <a:pt x="1051749" y="3558503"/>
                  <a:pt x="1046861" y="3558503"/>
                </a:cubicBezTo>
                <a:cubicBezTo>
                  <a:pt x="1034641" y="3558503"/>
                  <a:pt x="1012644" y="3556874"/>
                  <a:pt x="1006942" y="3556874"/>
                </a:cubicBezTo>
                <a:cubicBezTo>
                  <a:pt x="1001239" y="3556874"/>
                  <a:pt x="973540" y="3558503"/>
                  <a:pt x="949914" y="3558503"/>
                </a:cubicBezTo>
                <a:cubicBezTo>
                  <a:pt x="943397" y="3558503"/>
                  <a:pt x="940138" y="3557689"/>
                  <a:pt x="940138" y="3554430"/>
                </a:cubicBezTo>
                <a:cubicBezTo>
                  <a:pt x="940138" y="3551987"/>
                  <a:pt x="942582" y="3551172"/>
                  <a:pt x="945026" y="3551172"/>
                </a:cubicBezTo>
                <a:cubicBezTo>
                  <a:pt x="948285" y="3551172"/>
                  <a:pt x="955617" y="3551172"/>
                  <a:pt x="959690" y="3550358"/>
                </a:cubicBezTo>
                <a:cubicBezTo>
                  <a:pt x="982501" y="3547915"/>
                  <a:pt x="993092" y="3528367"/>
                  <a:pt x="1002053" y="3503118"/>
                </a:cubicBezTo>
                <a:lnTo>
                  <a:pt x="1117738" y="3187096"/>
                </a:lnTo>
                <a:cubicBezTo>
                  <a:pt x="1124255" y="3170806"/>
                  <a:pt x="1125885" y="3167548"/>
                  <a:pt x="1129143" y="3167548"/>
                </a:cubicBezTo>
                <a:close/>
                <a:moveTo>
                  <a:pt x="16294" y="3167548"/>
                </a:moveTo>
                <a:cubicBezTo>
                  <a:pt x="19552" y="3167548"/>
                  <a:pt x="25255" y="3172435"/>
                  <a:pt x="38290" y="3173250"/>
                </a:cubicBezTo>
                <a:cubicBezTo>
                  <a:pt x="52954" y="3174879"/>
                  <a:pt x="72506" y="3175693"/>
                  <a:pt x="78209" y="3175693"/>
                </a:cubicBezTo>
                <a:lnTo>
                  <a:pt x="268029" y="3175693"/>
                </a:lnTo>
                <a:cubicBezTo>
                  <a:pt x="300616" y="3175693"/>
                  <a:pt x="314466" y="3170806"/>
                  <a:pt x="318539" y="3170806"/>
                </a:cubicBezTo>
                <a:cubicBezTo>
                  <a:pt x="320983" y="3170806"/>
                  <a:pt x="320983" y="3174064"/>
                  <a:pt x="320983" y="3176507"/>
                </a:cubicBezTo>
                <a:cubicBezTo>
                  <a:pt x="320983" y="3191983"/>
                  <a:pt x="319354" y="3227006"/>
                  <a:pt x="319354" y="3231893"/>
                </a:cubicBezTo>
                <a:cubicBezTo>
                  <a:pt x="319354" y="3236780"/>
                  <a:pt x="317724" y="3238409"/>
                  <a:pt x="316095" y="3238409"/>
                </a:cubicBezTo>
                <a:cubicBezTo>
                  <a:pt x="313651" y="3238409"/>
                  <a:pt x="312836" y="3236780"/>
                  <a:pt x="312022" y="3229449"/>
                </a:cubicBezTo>
                <a:lnTo>
                  <a:pt x="311207" y="3223748"/>
                </a:lnTo>
                <a:cubicBezTo>
                  <a:pt x="309578" y="3208272"/>
                  <a:pt x="297357" y="3196869"/>
                  <a:pt x="249292" y="3196055"/>
                </a:cubicBezTo>
                <a:lnTo>
                  <a:pt x="185747" y="3195241"/>
                </a:lnTo>
                <a:lnTo>
                  <a:pt x="185747" y="3411895"/>
                </a:lnTo>
                <a:lnTo>
                  <a:pt x="184932" y="3411895"/>
                </a:lnTo>
                <a:cubicBezTo>
                  <a:pt x="184932" y="3460764"/>
                  <a:pt x="184932" y="3500674"/>
                  <a:pt x="187376" y="3521851"/>
                </a:cubicBezTo>
                <a:cubicBezTo>
                  <a:pt x="189005" y="3536512"/>
                  <a:pt x="192264" y="3547915"/>
                  <a:pt x="206928" y="3549544"/>
                </a:cubicBezTo>
                <a:cubicBezTo>
                  <a:pt x="214260" y="3550358"/>
                  <a:pt x="224851" y="3551987"/>
                  <a:pt x="229739" y="3551987"/>
                </a:cubicBezTo>
                <a:cubicBezTo>
                  <a:pt x="232998" y="3551987"/>
                  <a:pt x="233813" y="3553616"/>
                  <a:pt x="233813" y="3555245"/>
                </a:cubicBezTo>
                <a:cubicBezTo>
                  <a:pt x="233813" y="3557689"/>
                  <a:pt x="231369" y="3559317"/>
                  <a:pt x="225666" y="3559317"/>
                </a:cubicBezTo>
                <a:cubicBezTo>
                  <a:pt x="197967" y="3559317"/>
                  <a:pt x="166194" y="3557689"/>
                  <a:pt x="163750" y="3557689"/>
                </a:cubicBezTo>
                <a:cubicBezTo>
                  <a:pt x="161306" y="3557689"/>
                  <a:pt x="129534" y="3559317"/>
                  <a:pt x="114055" y="3559317"/>
                </a:cubicBezTo>
                <a:cubicBezTo>
                  <a:pt x="108352" y="3559317"/>
                  <a:pt x="105908" y="3558503"/>
                  <a:pt x="105908" y="3555245"/>
                </a:cubicBezTo>
                <a:cubicBezTo>
                  <a:pt x="105908" y="3553616"/>
                  <a:pt x="106723" y="3551987"/>
                  <a:pt x="109982" y="3551987"/>
                </a:cubicBezTo>
                <a:cubicBezTo>
                  <a:pt x="114870" y="3551987"/>
                  <a:pt x="120572" y="3551172"/>
                  <a:pt x="125460" y="3549544"/>
                </a:cubicBezTo>
                <a:cubicBezTo>
                  <a:pt x="135237" y="3547915"/>
                  <a:pt x="138495" y="3536512"/>
                  <a:pt x="140125" y="3521851"/>
                </a:cubicBezTo>
                <a:cubicBezTo>
                  <a:pt x="142569" y="3500674"/>
                  <a:pt x="142569" y="3460764"/>
                  <a:pt x="142569" y="3411895"/>
                </a:cubicBezTo>
                <a:lnTo>
                  <a:pt x="142569" y="3197684"/>
                </a:lnTo>
                <a:lnTo>
                  <a:pt x="67618" y="3198498"/>
                </a:lnTo>
                <a:cubicBezTo>
                  <a:pt x="35846" y="3199313"/>
                  <a:pt x="24440" y="3202571"/>
                  <a:pt x="16294" y="3214788"/>
                </a:cubicBezTo>
                <a:cubicBezTo>
                  <a:pt x="10591" y="3223748"/>
                  <a:pt x="8962" y="3227006"/>
                  <a:pt x="7332" y="3230264"/>
                </a:cubicBezTo>
                <a:cubicBezTo>
                  <a:pt x="5703" y="3234336"/>
                  <a:pt x="4073" y="3235151"/>
                  <a:pt x="2444" y="3235151"/>
                </a:cubicBezTo>
                <a:cubicBezTo>
                  <a:pt x="815" y="3235151"/>
                  <a:pt x="0" y="3233521"/>
                  <a:pt x="0" y="3230264"/>
                </a:cubicBezTo>
                <a:cubicBezTo>
                  <a:pt x="0" y="3225377"/>
                  <a:pt x="9776" y="3181394"/>
                  <a:pt x="11406" y="3177322"/>
                </a:cubicBezTo>
                <a:cubicBezTo>
                  <a:pt x="12220" y="3174064"/>
                  <a:pt x="14664" y="3167548"/>
                  <a:pt x="16294" y="3167548"/>
                </a:cubicBezTo>
                <a:close/>
                <a:moveTo>
                  <a:pt x="1815917" y="2787996"/>
                </a:moveTo>
                <a:lnTo>
                  <a:pt x="1783330" y="2887363"/>
                </a:lnTo>
                <a:cubicBezTo>
                  <a:pt x="1782515" y="2888992"/>
                  <a:pt x="1783330" y="2889807"/>
                  <a:pt x="1784145" y="2889807"/>
                </a:cubicBezTo>
                <a:lnTo>
                  <a:pt x="1855022" y="2889807"/>
                </a:lnTo>
                <a:cubicBezTo>
                  <a:pt x="1856651" y="2889807"/>
                  <a:pt x="1856651" y="2888992"/>
                  <a:pt x="1856651" y="2887363"/>
                </a:cubicBezTo>
                <a:lnTo>
                  <a:pt x="1821620" y="2787996"/>
                </a:lnTo>
                <a:cubicBezTo>
                  <a:pt x="1819990" y="2782294"/>
                  <a:pt x="1817546" y="2782294"/>
                  <a:pt x="1815917" y="2787996"/>
                </a:cubicBezTo>
                <a:close/>
                <a:moveTo>
                  <a:pt x="2387821" y="2745643"/>
                </a:moveTo>
                <a:cubicBezTo>
                  <a:pt x="2380489" y="2745643"/>
                  <a:pt x="2367454" y="2746458"/>
                  <a:pt x="2364195" y="2748087"/>
                </a:cubicBezTo>
                <a:cubicBezTo>
                  <a:pt x="2360937" y="2749716"/>
                  <a:pt x="2360122" y="2751345"/>
                  <a:pt x="2360122" y="2755417"/>
                </a:cubicBezTo>
                <a:cubicBezTo>
                  <a:pt x="2360122" y="2768449"/>
                  <a:pt x="2360122" y="2805915"/>
                  <a:pt x="2360122" y="2834423"/>
                </a:cubicBezTo>
                <a:lnTo>
                  <a:pt x="2359307" y="2834423"/>
                </a:lnTo>
                <a:lnTo>
                  <a:pt x="2359307" y="2880034"/>
                </a:lnTo>
                <a:cubicBezTo>
                  <a:pt x="2359307" y="2919129"/>
                  <a:pt x="2360122" y="2952523"/>
                  <a:pt x="2360122" y="2959854"/>
                </a:cubicBezTo>
                <a:cubicBezTo>
                  <a:pt x="2360937" y="2968813"/>
                  <a:pt x="2360937" y="2983474"/>
                  <a:pt x="2364195" y="2987547"/>
                </a:cubicBezTo>
                <a:cubicBezTo>
                  <a:pt x="2369084" y="2994877"/>
                  <a:pt x="2382933" y="3002207"/>
                  <a:pt x="2426925" y="3002207"/>
                </a:cubicBezTo>
                <a:cubicBezTo>
                  <a:pt x="2461142" y="3002207"/>
                  <a:pt x="2492914" y="2989990"/>
                  <a:pt x="2514911" y="2967999"/>
                </a:cubicBezTo>
                <a:cubicBezTo>
                  <a:pt x="2533648" y="2949266"/>
                  <a:pt x="2544239" y="2914243"/>
                  <a:pt x="2544239" y="2880034"/>
                </a:cubicBezTo>
                <a:cubicBezTo>
                  <a:pt x="2544239" y="2833608"/>
                  <a:pt x="2523872" y="2802658"/>
                  <a:pt x="2508393" y="2787182"/>
                </a:cubicBezTo>
                <a:cubicBezTo>
                  <a:pt x="2474177" y="2750530"/>
                  <a:pt x="2431814" y="2745643"/>
                  <a:pt x="2387821" y="2745643"/>
                </a:cubicBezTo>
                <a:close/>
                <a:moveTo>
                  <a:pt x="154789" y="2740756"/>
                </a:moveTo>
                <a:cubicBezTo>
                  <a:pt x="93688" y="2740756"/>
                  <a:pt x="47251" y="2781480"/>
                  <a:pt x="47251" y="2862115"/>
                </a:cubicBezTo>
                <a:cubicBezTo>
                  <a:pt x="47251" y="2947636"/>
                  <a:pt x="98576" y="3003021"/>
                  <a:pt x="165379" y="3003836"/>
                </a:cubicBezTo>
                <a:cubicBezTo>
                  <a:pt x="198781" y="3003836"/>
                  <a:pt x="267214" y="2984288"/>
                  <a:pt x="267214" y="2876775"/>
                </a:cubicBezTo>
                <a:cubicBezTo>
                  <a:pt x="267214" y="2787996"/>
                  <a:pt x="213446" y="2740756"/>
                  <a:pt x="154789" y="2740756"/>
                </a:cubicBezTo>
                <a:close/>
                <a:moveTo>
                  <a:pt x="2302280" y="2733426"/>
                </a:moveTo>
                <a:cubicBezTo>
                  <a:pt x="2318573" y="2733426"/>
                  <a:pt x="2342199" y="2734240"/>
                  <a:pt x="2343828" y="2734240"/>
                </a:cubicBezTo>
                <a:cubicBezTo>
                  <a:pt x="2347902" y="2734240"/>
                  <a:pt x="2371527" y="2733426"/>
                  <a:pt x="2393524" y="2733426"/>
                </a:cubicBezTo>
                <a:cubicBezTo>
                  <a:pt x="2430184" y="2733426"/>
                  <a:pt x="2497803" y="2730168"/>
                  <a:pt x="2541795" y="2775779"/>
                </a:cubicBezTo>
                <a:cubicBezTo>
                  <a:pt x="2560533" y="2794513"/>
                  <a:pt x="2577641" y="2825463"/>
                  <a:pt x="2577641" y="2869445"/>
                </a:cubicBezTo>
                <a:cubicBezTo>
                  <a:pt x="2577641" y="2915871"/>
                  <a:pt x="2558089" y="2951709"/>
                  <a:pt x="2537722" y="2973700"/>
                </a:cubicBezTo>
                <a:cubicBezTo>
                  <a:pt x="2522243" y="2989990"/>
                  <a:pt x="2488841" y="3016054"/>
                  <a:pt x="2426111" y="3016054"/>
                </a:cubicBezTo>
                <a:cubicBezTo>
                  <a:pt x="2394338" y="3016054"/>
                  <a:pt x="2347902" y="3011981"/>
                  <a:pt x="2343828" y="3011981"/>
                </a:cubicBezTo>
                <a:cubicBezTo>
                  <a:pt x="2342199" y="3011981"/>
                  <a:pt x="2319388" y="3012796"/>
                  <a:pt x="2307983" y="3012796"/>
                </a:cubicBezTo>
                <a:cubicBezTo>
                  <a:pt x="2303909" y="3012796"/>
                  <a:pt x="2302280" y="3011981"/>
                  <a:pt x="2302280" y="3009538"/>
                </a:cubicBezTo>
                <a:cubicBezTo>
                  <a:pt x="2302280" y="3007909"/>
                  <a:pt x="2303095" y="3007094"/>
                  <a:pt x="2305539" y="3007094"/>
                </a:cubicBezTo>
                <a:cubicBezTo>
                  <a:pt x="2308797" y="3007094"/>
                  <a:pt x="2313685" y="3006280"/>
                  <a:pt x="2316944" y="3005465"/>
                </a:cubicBezTo>
                <a:cubicBezTo>
                  <a:pt x="2324276" y="3003836"/>
                  <a:pt x="2325905" y="2995692"/>
                  <a:pt x="2327535" y="2985103"/>
                </a:cubicBezTo>
                <a:cubicBezTo>
                  <a:pt x="2329164" y="2969628"/>
                  <a:pt x="2329164" y="2941121"/>
                  <a:pt x="2329164" y="2905283"/>
                </a:cubicBezTo>
                <a:lnTo>
                  <a:pt x="2328350" y="2905283"/>
                </a:lnTo>
                <a:lnTo>
                  <a:pt x="2328350" y="2840938"/>
                </a:lnTo>
                <a:cubicBezTo>
                  <a:pt x="2328350" y="2783110"/>
                  <a:pt x="2328350" y="2773336"/>
                  <a:pt x="2327535" y="2761119"/>
                </a:cubicBezTo>
                <a:cubicBezTo>
                  <a:pt x="2327535" y="2748087"/>
                  <a:pt x="2324276" y="2742385"/>
                  <a:pt x="2312056" y="2739942"/>
                </a:cubicBezTo>
                <a:cubicBezTo>
                  <a:pt x="2309612" y="2739127"/>
                  <a:pt x="2303095" y="2739127"/>
                  <a:pt x="2299836" y="2739127"/>
                </a:cubicBezTo>
                <a:cubicBezTo>
                  <a:pt x="2298206" y="2739127"/>
                  <a:pt x="2296577" y="2738313"/>
                  <a:pt x="2296577" y="2736684"/>
                </a:cubicBezTo>
                <a:cubicBezTo>
                  <a:pt x="2296577" y="2734240"/>
                  <a:pt x="2298206" y="2733426"/>
                  <a:pt x="2302280" y="2733426"/>
                </a:cubicBezTo>
                <a:close/>
                <a:moveTo>
                  <a:pt x="523024" y="2731796"/>
                </a:moveTo>
                <a:cubicBezTo>
                  <a:pt x="539317" y="2731796"/>
                  <a:pt x="559684" y="2732611"/>
                  <a:pt x="562128" y="2732611"/>
                </a:cubicBezTo>
                <a:cubicBezTo>
                  <a:pt x="564572" y="2732611"/>
                  <a:pt x="582495" y="2731796"/>
                  <a:pt x="593086" y="2731796"/>
                </a:cubicBezTo>
                <a:cubicBezTo>
                  <a:pt x="597159" y="2731796"/>
                  <a:pt x="598788" y="2732611"/>
                  <a:pt x="598788" y="2735054"/>
                </a:cubicBezTo>
                <a:cubicBezTo>
                  <a:pt x="598788" y="2736683"/>
                  <a:pt x="597159" y="2737498"/>
                  <a:pt x="595530" y="2737498"/>
                </a:cubicBezTo>
                <a:cubicBezTo>
                  <a:pt x="593086" y="2737498"/>
                  <a:pt x="590642" y="2737498"/>
                  <a:pt x="586568" y="2738312"/>
                </a:cubicBezTo>
                <a:cubicBezTo>
                  <a:pt x="576792" y="2739941"/>
                  <a:pt x="573534" y="2746457"/>
                  <a:pt x="572719" y="2759489"/>
                </a:cubicBezTo>
                <a:cubicBezTo>
                  <a:pt x="571904" y="2771706"/>
                  <a:pt x="571904" y="2781480"/>
                  <a:pt x="571904" y="2839309"/>
                </a:cubicBezTo>
                <a:lnTo>
                  <a:pt x="571904" y="2879219"/>
                </a:lnTo>
                <a:cubicBezTo>
                  <a:pt x="571904" y="2919129"/>
                  <a:pt x="567831" y="2963111"/>
                  <a:pt x="537688" y="2989989"/>
                </a:cubicBezTo>
                <a:cubicBezTo>
                  <a:pt x="510803" y="3013609"/>
                  <a:pt x="483104" y="3017682"/>
                  <a:pt x="461923" y="3017682"/>
                </a:cubicBezTo>
                <a:cubicBezTo>
                  <a:pt x="449702" y="3017682"/>
                  <a:pt x="412227" y="3016053"/>
                  <a:pt x="386158" y="2991618"/>
                </a:cubicBezTo>
                <a:cubicBezTo>
                  <a:pt x="368235" y="2974514"/>
                  <a:pt x="354385" y="2948450"/>
                  <a:pt x="354385" y="2894694"/>
                </a:cubicBezTo>
                <a:lnTo>
                  <a:pt x="354385" y="2840123"/>
                </a:lnTo>
                <a:lnTo>
                  <a:pt x="356829" y="2840123"/>
                </a:lnTo>
                <a:cubicBezTo>
                  <a:pt x="356829" y="2782294"/>
                  <a:pt x="356829" y="2772520"/>
                  <a:pt x="356015" y="2760303"/>
                </a:cubicBezTo>
                <a:cubicBezTo>
                  <a:pt x="355200" y="2748086"/>
                  <a:pt x="351941" y="2741570"/>
                  <a:pt x="339721" y="2739126"/>
                </a:cubicBezTo>
                <a:cubicBezTo>
                  <a:pt x="336462" y="2738312"/>
                  <a:pt x="330759" y="2738312"/>
                  <a:pt x="327501" y="2738312"/>
                </a:cubicBezTo>
                <a:cubicBezTo>
                  <a:pt x="325871" y="2738312"/>
                  <a:pt x="324242" y="2737498"/>
                  <a:pt x="324242" y="2735868"/>
                </a:cubicBezTo>
                <a:cubicBezTo>
                  <a:pt x="324242" y="2733425"/>
                  <a:pt x="325871" y="2732611"/>
                  <a:pt x="329945" y="2732611"/>
                </a:cubicBezTo>
                <a:cubicBezTo>
                  <a:pt x="346238" y="2732611"/>
                  <a:pt x="369049" y="2733425"/>
                  <a:pt x="372308" y="2733425"/>
                </a:cubicBezTo>
                <a:cubicBezTo>
                  <a:pt x="375567" y="2733425"/>
                  <a:pt x="397563" y="2732611"/>
                  <a:pt x="408969" y="2732611"/>
                </a:cubicBezTo>
                <a:cubicBezTo>
                  <a:pt x="413042" y="2732611"/>
                  <a:pt x="414671" y="2733425"/>
                  <a:pt x="414671" y="2735868"/>
                </a:cubicBezTo>
                <a:cubicBezTo>
                  <a:pt x="414671" y="2737498"/>
                  <a:pt x="413042" y="2738312"/>
                  <a:pt x="411413" y="2738312"/>
                </a:cubicBezTo>
                <a:cubicBezTo>
                  <a:pt x="408969" y="2738312"/>
                  <a:pt x="406525" y="2738312"/>
                  <a:pt x="402451" y="2739126"/>
                </a:cubicBezTo>
                <a:cubicBezTo>
                  <a:pt x="392675" y="2740755"/>
                  <a:pt x="389416" y="2747271"/>
                  <a:pt x="388602" y="2760303"/>
                </a:cubicBezTo>
                <a:cubicBezTo>
                  <a:pt x="387787" y="2772520"/>
                  <a:pt x="387787" y="2782294"/>
                  <a:pt x="387787" y="2840123"/>
                </a:cubicBezTo>
                <a:lnTo>
                  <a:pt x="387787" y="2891436"/>
                </a:lnTo>
                <a:cubicBezTo>
                  <a:pt x="387787" y="2944378"/>
                  <a:pt x="399192" y="2967184"/>
                  <a:pt x="415486" y="2982659"/>
                </a:cubicBezTo>
                <a:cubicBezTo>
                  <a:pt x="433409" y="2999763"/>
                  <a:pt x="450517" y="3003021"/>
                  <a:pt x="470884" y="3003021"/>
                </a:cubicBezTo>
                <a:cubicBezTo>
                  <a:pt x="493695" y="3003021"/>
                  <a:pt x="515691" y="2992433"/>
                  <a:pt x="528726" y="2976143"/>
                </a:cubicBezTo>
                <a:cubicBezTo>
                  <a:pt x="545834" y="2954966"/>
                  <a:pt x="549908" y="2924015"/>
                  <a:pt x="549908" y="2885734"/>
                </a:cubicBezTo>
                <a:lnTo>
                  <a:pt x="549908" y="2839309"/>
                </a:lnTo>
                <a:cubicBezTo>
                  <a:pt x="549908" y="2781480"/>
                  <a:pt x="549908" y="2771706"/>
                  <a:pt x="549093" y="2759489"/>
                </a:cubicBezTo>
                <a:cubicBezTo>
                  <a:pt x="548278" y="2747271"/>
                  <a:pt x="545020" y="2740755"/>
                  <a:pt x="532800" y="2738312"/>
                </a:cubicBezTo>
                <a:cubicBezTo>
                  <a:pt x="529541" y="2737498"/>
                  <a:pt x="523838" y="2737498"/>
                  <a:pt x="520579" y="2737498"/>
                </a:cubicBezTo>
                <a:cubicBezTo>
                  <a:pt x="518950" y="2737498"/>
                  <a:pt x="517321" y="2736683"/>
                  <a:pt x="517321" y="2735054"/>
                </a:cubicBezTo>
                <a:cubicBezTo>
                  <a:pt x="517321" y="2732611"/>
                  <a:pt x="518950" y="2731796"/>
                  <a:pt x="523024" y="2731796"/>
                </a:cubicBezTo>
                <a:close/>
                <a:moveTo>
                  <a:pt x="1512857" y="2730982"/>
                </a:moveTo>
                <a:cubicBezTo>
                  <a:pt x="1529150" y="2730982"/>
                  <a:pt x="1552776" y="2731797"/>
                  <a:pt x="1554405" y="2731797"/>
                </a:cubicBezTo>
                <a:cubicBezTo>
                  <a:pt x="1556035" y="2731797"/>
                  <a:pt x="1582919" y="2730982"/>
                  <a:pt x="1594325" y="2730982"/>
                </a:cubicBezTo>
                <a:cubicBezTo>
                  <a:pt x="1598398" y="2730982"/>
                  <a:pt x="1600027" y="2731797"/>
                  <a:pt x="1600027" y="2734240"/>
                </a:cubicBezTo>
                <a:cubicBezTo>
                  <a:pt x="1600027" y="2735869"/>
                  <a:pt x="1598398" y="2736684"/>
                  <a:pt x="1596769" y="2736684"/>
                </a:cubicBezTo>
                <a:cubicBezTo>
                  <a:pt x="1594325" y="2736684"/>
                  <a:pt x="1588622" y="2736684"/>
                  <a:pt x="1584548" y="2737498"/>
                </a:cubicBezTo>
                <a:cubicBezTo>
                  <a:pt x="1573958" y="2739127"/>
                  <a:pt x="1570699" y="2745643"/>
                  <a:pt x="1569884" y="2758675"/>
                </a:cubicBezTo>
                <a:cubicBezTo>
                  <a:pt x="1569070" y="2770892"/>
                  <a:pt x="1569070" y="2780666"/>
                  <a:pt x="1569070" y="2838495"/>
                </a:cubicBezTo>
                <a:lnTo>
                  <a:pt x="1569070" y="2906097"/>
                </a:lnTo>
                <a:lnTo>
                  <a:pt x="1569884" y="2906097"/>
                </a:lnTo>
                <a:cubicBezTo>
                  <a:pt x="1569884" y="2960668"/>
                  <a:pt x="1571514" y="2984288"/>
                  <a:pt x="1578031" y="2990804"/>
                </a:cubicBezTo>
                <a:cubicBezTo>
                  <a:pt x="1583734" y="2996506"/>
                  <a:pt x="1593510" y="2998949"/>
                  <a:pt x="1622024" y="2998949"/>
                </a:cubicBezTo>
                <a:cubicBezTo>
                  <a:pt x="1641576" y="2998949"/>
                  <a:pt x="1657869" y="2998949"/>
                  <a:pt x="1666831" y="2987546"/>
                </a:cubicBezTo>
                <a:cubicBezTo>
                  <a:pt x="1671719" y="2981845"/>
                  <a:pt x="1674978" y="2972071"/>
                  <a:pt x="1676607" y="2965555"/>
                </a:cubicBezTo>
                <a:cubicBezTo>
                  <a:pt x="1676607" y="2962297"/>
                  <a:pt x="1677422" y="2960668"/>
                  <a:pt x="1679866" y="2960668"/>
                </a:cubicBezTo>
                <a:cubicBezTo>
                  <a:pt x="1681495" y="2960668"/>
                  <a:pt x="1682310" y="2962297"/>
                  <a:pt x="1682310" y="2966369"/>
                </a:cubicBezTo>
                <a:cubicBezTo>
                  <a:pt x="1682310" y="2970442"/>
                  <a:pt x="1679866" y="2992433"/>
                  <a:pt x="1676607" y="3003021"/>
                </a:cubicBezTo>
                <a:cubicBezTo>
                  <a:pt x="1674163" y="3011166"/>
                  <a:pt x="1672534" y="3012795"/>
                  <a:pt x="1652981" y="3012795"/>
                </a:cubicBezTo>
                <a:cubicBezTo>
                  <a:pt x="1600027" y="3012795"/>
                  <a:pt x="1575587" y="3010352"/>
                  <a:pt x="1553591" y="3010352"/>
                </a:cubicBezTo>
                <a:cubicBezTo>
                  <a:pt x="1550332" y="3010352"/>
                  <a:pt x="1528336" y="3011166"/>
                  <a:pt x="1517745" y="3011166"/>
                </a:cubicBezTo>
                <a:cubicBezTo>
                  <a:pt x="1513672" y="3011166"/>
                  <a:pt x="1512042" y="3010352"/>
                  <a:pt x="1512042" y="3007909"/>
                </a:cubicBezTo>
                <a:cubicBezTo>
                  <a:pt x="1512042" y="3007094"/>
                  <a:pt x="1512857" y="3005465"/>
                  <a:pt x="1515301" y="3005465"/>
                </a:cubicBezTo>
                <a:cubicBezTo>
                  <a:pt x="1518559" y="3005465"/>
                  <a:pt x="1522633" y="3004650"/>
                  <a:pt x="1526706" y="3003836"/>
                </a:cubicBezTo>
                <a:cubicBezTo>
                  <a:pt x="1534039" y="3002207"/>
                  <a:pt x="1535668" y="2994062"/>
                  <a:pt x="1537297" y="2983474"/>
                </a:cubicBezTo>
                <a:cubicBezTo>
                  <a:pt x="1538926" y="2967998"/>
                  <a:pt x="1538926" y="2938677"/>
                  <a:pt x="1538926" y="2903654"/>
                </a:cubicBezTo>
                <a:lnTo>
                  <a:pt x="1538926" y="2838495"/>
                </a:lnTo>
                <a:cubicBezTo>
                  <a:pt x="1538926" y="2780666"/>
                  <a:pt x="1538926" y="2770892"/>
                  <a:pt x="1538112" y="2758675"/>
                </a:cubicBezTo>
                <a:cubicBezTo>
                  <a:pt x="1537297" y="2746457"/>
                  <a:pt x="1534853" y="2739941"/>
                  <a:pt x="1522633" y="2737498"/>
                </a:cubicBezTo>
                <a:cubicBezTo>
                  <a:pt x="1519374" y="2736684"/>
                  <a:pt x="1513672" y="2736684"/>
                  <a:pt x="1510413" y="2736684"/>
                </a:cubicBezTo>
                <a:cubicBezTo>
                  <a:pt x="1508783" y="2736684"/>
                  <a:pt x="1507154" y="2735869"/>
                  <a:pt x="1507154" y="2734240"/>
                </a:cubicBezTo>
                <a:cubicBezTo>
                  <a:pt x="1507154" y="2731797"/>
                  <a:pt x="1508783" y="2730982"/>
                  <a:pt x="1512857" y="2730982"/>
                </a:cubicBezTo>
                <a:close/>
                <a:moveTo>
                  <a:pt x="978428" y="2730167"/>
                </a:moveTo>
                <a:cubicBezTo>
                  <a:pt x="979243" y="2730167"/>
                  <a:pt x="980058" y="2731796"/>
                  <a:pt x="980058" y="2733425"/>
                </a:cubicBezTo>
                <a:cubicBezTo>
                  <a:pt x="980058" y="2735869"/>
                  <a:pt x="978428" y="2740756"/>
                  <a:pt x="976799" y="2750529"/>
                </a:cubicBezTo>
                <a:cubicBezTo>
                  <a:pt x="976799" y="2754602"/>
                  <a:pt x="975985" y="2770077"/>
                  <a:pt x="975170" y="2774964"/>
                </a:cubicBezTo>
                <a:cubicBezTo>
                  <a:pt x="975170" y="2776593"/>
                  <a:pt x="974355" y="2779036"/>
                  <a:pt x="972726" y="2779036"/>
                </a:cubicBezTo>
                <a:cubicBezTo>
                  <a:pt x="970282" y="2779036"/>
                  <a:pt x="969467" y="2777408"/>
                  <a:pt x="969467" y="2774150"/>
                </a:cubicBezTo>
                <a:cubicBezTo>
                  <a:pt x="969467" y="2771706"/>
                  <a:pt x="969467" y="2765190"/>
                  <a:pt x="967023" y="2761118"/>
                </a:cubicBezTo>
                <a:cubicBezTo>
                  <a:pt x="964579" y="2755416"/>
                  <a:pt x="960506" y="2750529"/>
                  <a:pt x="940953" y="2748900"/>
                </a:cubicBezTo>
                <a:cubicBezTo>
                  <a:pt x="934436" y="2748086"/>
                  <a:pt x="894517" y="2748086"/>
                  <a:pt x="890443" y="2748086"/>
                </a:cubicBezTo>
                <a:cubicBezTo>
                  <a:pt x="888814" y="2748086"/>
                  <a:pt x="887999" y="2748900"/>
                  <a:pt x="887999" y="2752158"/>
                </a:cubicBezTo>
                <a:lnTo>
                  <a:pt x="887999" y="2853969"/>
                </a:lnTo>
                <a:cubicBezTo>
                  <a:pt x="887999" y="2856413"/>
                  <a:pt x="887999" y="2858042"/>
                  <a:pt x="890443" y="2858042"/>
                </a:cubicBezTo>
                <a:cubicBezTo>
                  <a:pt x="895331" y="2858042"/>
                  <a:pt x="940953" y="2858042"/>
                  <a:pt x="949100" y="2857227"/>
                </a:cubicBezTo>
                <a:cubicBezTo>
                  <a:pt x="958062" y="2856413"/>
                  <a:pt x="962950" y="2855599"/>
                  <a:pt x="966208" y="2852340"/>
                </a:cubicBezTo>
                <a:cubicBezTo>
                  <a:pt x="968652" y="2849082"/>
                  <a:pt x="970282" y="2847454"/>
                  <a:pt x="971911" y="2847454"/>
                </a:cubicBezTo>
                <a:cubicBezTo>
                  <a:pt x="972726" y="2847454"/>
                  <a:pt x="973540" y="2848268"/>
                  <a:pt x="973540" y="2850712"/>
                </a:cubicBezTo>
                <a:cubicBezTo>
                  <a:pt x="973540" y="2853155"/>
                  <a:pt x="971911" y="2858856"/>
                  <a:pt x="970282" y="2871074"/>
                </a:cubicBezTo>
                <a:cubicBezTo>
                  <a:pt x="969467" y="2878404"/>
                  <a:pt x="968652" y="2892251"/>
                  <a:pt x="968652" y="2894694"/>
                </a:cubicBezTo>
                <a:cubicBezTo>
                  <a:pt x="968652" y="2897952"/>
                  <a:pt x="968652" y="2902025"/>
                  <a:pt x="966208" y="2902025"/>
                </a:cubicBezTo>
                <a:cubicBezTo>
                  <a:pt x="964579" y="2902025"/>
                  <a:pt x="963764" y="2900395"/>
                  <a:pt x="963764" y="2898766"/>
                </a:cubicBezTo>
                <a:cubicBezTo>
                  <a:pt x="963764" y="2894694"/>
                  <a:pt x="963764" y="2891436"/>
                  <a:pt x="962135" y="2886549"/>
                </a:cubicBezTo>
                <a:cubicBezTo>
                  <a:pt x="960506" y="2881662"/>
                  <a:pt x="957247" y="2875146"/>
                  <a:pt x="942583" y="2873517"/>
                </a:cubicBezTo>
                <a:cubicBezTo>
                  <a:pt x="932806" y="2872703"/>
                  <a:pt x="896146" y="2871888"/>
                  <a:pt x="889629" y="2871888"/>
                </a:cubicBezTo>
                <a:cubicBezTo>
                  <a:pt x="887999" y="2871888"/>
                  <a:pt x="887185" y="2872703"/>
                  <a:pt x="887185" y="2874332"/>
                </a:cubicBezTo>
                <a:lnTo>
                  <a:pt x="887185" y="2906911"/>
                </a:lnTo>
                <a:cubicBezTo>
                  <a:pt x="887185" y="2919129"/>
                  <a:pt x="887185" y="2962296"/>
                  <a:pt x="887185" y="2970441"/>
                </a:cubicBezTo>
                <a:cubicBezTo>
                  <a:pt x="887999" y="2995691"/>
                  <a:pt x="893702" y="3000578"/>
                  <a:pt x="930363" y="3000578"/>
                </a:cubicBezTo>
                <a:cubicBezTo>
                  <a:pt x="940139" y="3000578"/>
                  <a:pt x="956432" y="3000578"/>
                  <a:pt x="966208" y="2996505"/>
                </a:cubicBezTo>
                <a:cubicBezTo>
                  <a:pt x="975985" y="2992433"/>
                  <a:pt x="980058" y="2985102"/>
                  <a:pt x="982502" y="2969627"/>
                </a:cubicBezTo>
                <a:cubicBezTo>
                  <a:pt x="983317" y="2965555"/>
                  <a:pt x="984131" y="2963926"/>
                  <a:pt x="985761" y="2963926"/>
                </a:cubicBezTo>
                <a:cubicBezTo>
                  <a:pt x="988205" y="2963926"/>
                  <a:pt x="988205" y="2967184"/>
                  <a:pt x="988205" y="2969627"/>
                </a:cubicBezTo>
                <a:cubicBezTo>
                  <a:pt x="988205" y="2972885"/>
                  <a:pt x="984946" y="2997319"/>
                  <a:pt x="983317" y="3005464"/>
                </a:cubicBezTo>
                <a:cubicBezTo>
                  <a:pt x="980872" y="3015238"/>
                  <a:pt x="977614" y="3015238"/>
                  <a:pt x="962950" y="3015238"/>
                </a:cubicBezTo>
                <a:cubicBezTo>
                  <a:pt x="907552" y="3015238"/>
                  <a:pt x="882296" y="3012795"/>
                  <a:pt x="871706" y="3012795"/>
                </a:cubicBezTo>
                <a:cubicBezTo>
                  <a:pt x="870076" y="3012795"/>
                  <a:pt x="846451" y="3013609"/>
                  <a:pt x="835860" y="3013609"/>
                </a:cubicBezTo>
                <a:cubicBezTo>
                  <a:pt x="831786" y="3013609"/>
                  <a:pt x="830157" y="3012795"/>
                  <a:pt x="830157" y="3010352"/>
                </a:cubicBezTo>
                <a:cubicBezTo>
                  <a:pt x="830157" y="3009537"/>
                  <a:pt x="830972" y="3007908"/>
                  <a:pt x="833416" y="3007908"/>
                </a:cubicBezTo>
                <a:cubicBezTo>
                  <a:pt x="836675" y="3007908"/>
                  <a:pt x="841563" y="3007093"/>
                  <a:pt x="844821" y="3006279"/>
                </a:cubicBezTo>
                <a:cubicBezTo>
                  <a:pt x="852153" y="3004650"/>
                  <a:pt x="853783" y="2996505"/>
                  <a:pt x="855412" y="2985917"/>
                </a:cubicBezTo>
                <a:cubicBezTo>
                  <a:pt x="857042" y="2970441"/>
                  <a:pt x="857042" y="2941120"/>
                  <a:pt x="857042" y="2906097"/>
                </a:cubicBezTo>
                <a:lnTo>
                  <a:pt x="857042" y="2840123"/>
                </a:lnTo>
                <a:cubicBezTo>
                  <a:pt x="857042" y="2782295"/>
                  <a:pt x="857042" y="2772521"/>
                  <a:pt x="856227" y="2760303"/>
                </a:cubicBezTo>
                <a:cubicBezTo>
                  <a:pt x="855412" y="2748086"/>
                  <a:pt x="852153" y="2741570"/>
                  <a:pt x="840748" y="2739126"/>
                </a:cubicBezTo>
                <a:cubicBezTo>
                  <a:pt x="837489" y="2738312"/>
                  <a:pt x="831786" y="2738312"/>
                  <a:pt x="828528" y="2738312"/>
                </a:cubicBezTo>
                <a:cubicBezTo>
                  <a:pt x="826898" y="2738312"/>
                  <a:pt x="825269" y="2737498"/>
                  <a:pt x="825269" y="2735869"/>
                </a:cubicBezTo>
                <a:cubicBezTo>
                  <a:pt x="825269" y="2733425"/>
                  <a:pt x="826898" y="2732611"/>
                  <a:pt x="830972" y="2732611"/>
                </a:cubicBezTo>
                <a:cubicBezTo>
                  <a:pt x="847265" y="2732611"/>
                  <a:pt x="870891" y="2733425"/>
                  <a:pt x="872520" y="2733425"/>
                </a:cubicBezTo>
                <a:cubicBezTo>
                  <a:pt x="874964" y="2733425"/>
                  <a:pt x="948285" y="2733425"/>
                  <a:pt x="957247" y="2733425"/>
                </a:cubicBezTo>
                <a:cubicBezTo>
                  <a:pt x="964579" y="2733425"/>
                  <a:pt x="970282" y="2732611"/>
                  <a:pt x="973540" y="2731796"/>
                </a:cubicBezTo>
                <a:cubicBezTo>
                  <a:pt x="975170" y="2731796"/>
                  <a:pt x="976799" y="2730167"/>
                  <a:pt x="978428" y="2730167"/>
                </a:cubicBezTo>
                <a:close/>
                <a:moveTo>
                  <a:pt x="773130" y="2730167"/>
                </a:moveTo>
                <a:cubicBezTo>
                  <a:pt x="773944" y="2730167"/>
                  <a:pt x="774759" y="2731796"/>
                  <a:pt x="774759" y="2733425"/>
                </a:cubicBezTo>
                <a:cubicBezTo>
                  <a:pt x="774759" y="2735869"/>
                  <a:pt x="773130" y="2740756"/>
                  <a:pt x="771500" y="2750529"/>
                </a:cubicBezTo>
                <a:cubicBezTo>
                  <a:pt x="771500" y="2754602"/>
                  <a:pt x="770686" y="2770077"/>
                  <a:pt x="769871" y="2774964"/>
                </a:cubicBezTo>
                <a:cubicBezTo>
                  <a:pt x="769871" y="2776593"/>
                  <a:pt x="769056" y="2779036"/>
                  <a:pt x="767427" y="2779036"/>
                </a:cubicBezTo>
                <a:cubicBezTo>
                  <a:pt x="764983" y="2779036"/>
                  <a:pt x="764168" y="2777408"/>
                  <a:pt x="764168" y="2774150"/>
                </a:cubicBezTo>
                <a:cubicBezTo>
                  <a:pt x="764168" y="2771706"/>
                  <a:pt x="764168" y="2765190"/>
                  <a:pt x="761724" y="2761118"/>
                </a:cubicBezTo>
                <a:cubicBezTo>
                  <a:pt x="759280" y="2755416"/>
                  <a:pt x="755207" y="2750529"/>
                  <a:pt x="735655" y="2748900"/>
                </a:cubicBezTo>
                <a:cubicBezTo>
                  <a:pt x="729137" y="2748086"/>
                  <a:pt x="689218" y="2748086"/>
                  <a:pt x="685145" y="2748086"/>
                </a:cubicBezTo>
                <a:cubicBezTo>
                  <a:pt x="683515" y="2748086"/>
                  <a:pt x="682700" y="2748900"/>
                  <a:pt x="682700" y="2752158"/>
                </a:cubicBezTo>
                <a:lnTo>
                  <a:pt x="682700" y="2853969"/>
                </a:lnTo>
                <a:cubicBezTo>
                  <a:pt x="682700" y="2856413"/>
                  <a:pt x="682700" y="2858042"/>
                  <a:pt x="685145" y="2858042"/>
                </a:cubicBezTo>
                <a:cubicBezTo>
                  <a:pt x="690033" y="2858042"/>
                  <a:pt x="735655" y="2858042"/>
                  <a:pt x="743801" y="2857227"/>
                </a:cubicBezTo>
                <a:cubicBezTo>
                  <a:pt x="752763" y="2856413"/>
                  <a:pt x="757651" y="2855599"/>
                  <a:pt x="760910" y="2852340"/>
                </a:cubicBezTo>
                <a:cubicBezTo>
                  <a:pt x="763354" y="2849082"/>
                  <a:pt x="764983" y="2847454"/>
                  <a:pt x="766612" y="2847454"/>
                </a:cubicBezTo>
                <a:cubicBezTo>
                  <a:pt x="767427" y="2847454"/>
                  <a:pt x="768242" y="2848268"/>
                  <a:pt x="768242" y="2850712"/>
                </a:cubicBezTo>
                <a:cubicBezTo>
                  <a:pt x="768242" y="2853155"/>
                  <a:pt x="766612" y="2858856"/>
                  <a:pt x="764983" y="2871074"/>
                </a:cubicBezTo>
                <a:cubicBezTo>
                  <a:pt x="764168" y="2878404"/>
                  <a:pt x="763354" y="2892251"/>
                  <a:pt x="763354" y="2894694"/>
                </a:cubicBezTo>
                <a:cubicBezTo>
                  <a:pt x="763354" y="2897952"/>
                  <a:pt x="763354" y="2902025"/>
                  <a:pt x="760910" y="2902025"/>
                </a:cubicBezTo>
                <a:cubicBezTo>
                  <a:pt x="759280" y="2902025"/>
                  <a:pt x="758466" y="2900395"/>
                  <a:pt x="758466" y="2898766"/>
                </a:cubicBezTo>
                <a:cubicBezTo>
                  <a:pt x="758466" y="2894694"/>
                  <a:pt x="758466" y="2891436"/>
                  <a:pt x="756836" y="2886549"/>
                </a:cubicBezTo>
                <a:cubicBezTo>
                  <a:pt x="755207" y="2881662"/>
                  <a:pt x="751948" y="2875146"/>
                  <a:pt x="737284" y="2873517"/>
                </a:cubicBezTo>
                <a:cubicBezTo>
                  <a:pt x="727508" y="2872703"/>
                  <a:pt x="690847" y="2871888"/>
                  <a:pt x="684330" y="2871888"/>
                </a:cubicBezTo>
                <a:cubicBezTo>
                  <a:pt x="682700" y="2871888"/>
                  <a:pt x="681886" y="2872703"/>
                  <a:pt x="681886" y="2874332"/>
                </a:cubicBezTo>
                <a:lnTo>
                  <a:pt x="681886" y="2906911"/>
                </a:lnTo>
                <a:cubicBezTo>
                  <a:pt x="681886" y="2919129"/>
                  <a:pt x="681886" y="2962296"/>
                  <a:pt x="681886" y="2970441"/>
                </a:cubicBezTo>
                <a:cubicBezTo>
                  <a:pt x="682700" y="2995691"/>
                  <a:pt x="688403" y="3000578"/>
                  <a:pt x="725064" y="3000578"/>
                </a:cubicBezTo>
                <a:cubicBezTo>
                  <a:pt x="734840" y="3000578"/>
                  <a:pt x="751133" y="3000578"/>
                  <a:pt x="760095" y="2996505"/>
                </a:cubicBezTo>
                <a:cubicBezTo>
                  <a:pt x="769871" y="2992433"/>
                  <a:pt x="773944" y="2985102"/>
                  <a:pt x="776388" y="2969627"/>
                </a:cubicBezTo>
                <a:cubicBezTo>
                  <a:pt x="777203" y="2965555"/>
                  <a:pt x="778018" y="2963926"/>
                  <a:pt x="779647" y="2963926"/>
                </a:cubicBezTo>
                <a:cubicBezTo>
                  <a:pt x="782091" y="2963926"/>
                  <a:pt x="782091" y="2967184"/>
                  <a:pt x="782091" y="2969627"/>
                </a:cubicBezTo>
                <a:cubicBezTo>
                  <a:pt x="782091" y="2972885"/>
                  <a:pt x="778832" y="2997319"/>
                  <a:pt x="777203" y="3005464"/>
                </a:cubicBezTo>
                <a:cubicBezTo>
                  <a:pt x="774759" y="3015238"/>
                  <a:pt x="771500" y="3015238"/>
                  <a:pt x="757651" y="3015238"/>
                </a:cubicBezTo>
                <a:cubicBezTo>
                  <a:pt x="702253" y="3015238"/>
                  <a:pt x="676998" y="3012795"/>
                  <a:pt x="666407" y="3012795"/>
                </a:cubicBezTo>
                <a:cubicBezTo>
                  <a:pt x="664778" y="3012795"/>
                  <a:pt x="641152" y="3013609"/>
                  <a:pt x="630561" y="3013609"/>
                </a:cubicBezTo>
                <a:cubicBezTo>
                  <a:pt x="626488" y="3013609"/>
                  <a:pt x="624858" y="3012795"/>
                  <a:pt x="624858" y="3010352"/>
                </a:cubicBezTo>
                <a:cubicBezTo>
                  <a:pt x="624858" y="3009537"/>
                  <a:pt x="625673" y="3007908"/>
                  <a:pt x="628117" y="3007908"/>
                </a:cubicBezTo>
                <a:cubicBezTo>
                  <a:pt x="631376" y="3007908"/>
                  <a:pt x="636264" y="3007093"/>
                  <a:pt x="639522" y="3006279"/>
                </a:cubicBezTo>
                <a:cubicBezTo>
                  <a:pt x="646855" y="3004650"/>
                  <a:pt x="648484" y="2996505"/>
                  <a:pt x="650113" y="2985917"/>
                </a:cubicBezTo>
                <a:cubicBezTo>
                  <a:pt x="651743" y="2970441"/>
                  <a:pt x="651743" y="2941120"/>
                  <a:pt x="651743" y="2906097"/>
                </a:cubicBezTo>
                <a:lnTo>
                  <a:pt x="651743" y="2840123"/>
                </a:lnTo>
                <a:lnTo>
                  <a:pt x="652557" y="2840123"/>
                </a:lnTo>
                <a:cubicBezTo>
                  <a:pt x="652557" y="2782295"/>
                  <a:pt x="652557" y="2772521"/>
                  <a:pt x="651743" y="2760303"/>
                </a:cubicBezTo>
                <a:cubicBezTo>
                  <a:pt x="650928" y="2748086"/>
                  <a:pt x="647669" y="2741570"/>
                  <a:pt x="636264" y="2739126"/>
                </a:cubicBezTo>
                <a:cubicBezTo>
                  <a:pt x="633005" y="2738312"/>
                  <a:pt x="627302" y="2738312"/>
                  <a:pt x="624044" y="2738312"/>
                </a:cubicBezTo>
                <a:cubicBezTo>
                  <a:pt x="622414" y="2738312"/>
                  <a:pt x="620785" y="2737498"/>
                  <a:pt x="620785" y="2735869"/>
                </a:cubicBezTo>
                <a:cubicBezTo>
                  <a:pt x="620785" y="2733425"/>
                  <a:pt x="622414" y="2732611"/>
                  <a:pt x="626488" y="2732611"/>
                </a:cubicBezTo>
                <a:cubicBezTo>
                  <a:pt x="642781" y="2732611"/>
                  <a:pt x="666407" y="2733425"/>
                  <a:pt x="668036" y="2733425"/>
                </a:cubicBezTo>
                <a:cubicBezTo>
                  <a:pt x="670480" y="2733425"/>
                  <a:pt x="743801" y="2733425"/>
                  <a:pt x="752763" y="2733425"/>
                </a:cubicBezTo>
                <a:cubicBezTo>
                  <a:pt x="760095" y="2733425"/>
                  <a:pt x="765798" y="2732611"/>
                  <a:pt x="768242" y="2731796"/>
                </a:cubicBezTo>
                <a:cubicBezTo>
                  <a:pt x="769871" y="2731796"/>
                  <a:pt x="771500" y="2730167"/>
                  <a:pt x="773130" y="2730167"/>
                </a:cubicBezTo>
                <a:close/>
                <a:moveTo>
                  <a:pt x="1824064" y="2728538"/>
                </a:moveTo>
                <a:cubicBezTo>
                  <a:pt x="1826508" y="2728538"/>
                  <a:pt x="1828137" y="2730167"/>
                  <a:pt x="1832211" y="2741570"/>
                </a:cubicBezTo>
                <a:cubicBezTo>
                  <a:pt x="1837913" y="2755416"/>
                  <a:pt x="1895756" y="2907725"/>
                  <a:pt x="1918567" y="2963925"/>
                </a:cubicBezTo>
                <a:cubicBezTo>
                  <a:pt x="1931601" y="2996505"/>
                  <a:pt x="1942192" y="3002206"/>
                  <a:pt x="1950339" y="3004650"/>
                </a:cubicBezTo>
                <a:cubicBezTo>
                  <a:pt x="1956042" y="3007093"/>
                  <a:pt x="1960930" y="3007093"/>
                  <a:pt x="1965003" y="3007093"/>
                </a:cubicBezTo>
                <a:cubicBezTo>
                  <a:pt x="1966632" y="3007093"/>
                  <a:pt x="1968262" y="3007908"/>
                  <a:pt x="1968262" y="3009537"/>
                </a:cubicBezTo>
                <a:cubicBezTo>
                  <a:pt x="1968262" y="3011980"/>
                  <a:pt x="1965003" y="3012795"/>
                  <a:pt x="1960930" y="3012795"/>
                </a:cubicBezTo>
                <a:cubicBezTo>
                  <a:pt x="1955227" y="3012795"/>
                  <a:pt x="1928343" y="3012795"/>
                  <a:pt x="1903088" y="3011980"/>
                </a:cubicBezTo>
                <a:cubicBezTo>
                  <a:pt x="1895756" y="3011980"/>
                  <a:pt x="1891682" y="3011980"/>
                  <a:pt x="1891682" y="3009537"/>
                </a:cubicBezTo>
                <a:cubicBezTo>
                  <a:pt x="1891682" y="3007908"/>
                  <a:pt x="1892497" y="3007093"/>
                  <a:pt x="1894126" y="3007093"/>
                </a:cubicBezTo>
                <a:cubicBezTo>
                  <a:pt x="1896570" y="3006279"/>
                  <a:pt x="1899014" y="3003021"/>
                  <a:pt x="1896570" y="2997319"/>
                </a:cubicBezTo>
                <a:lnTo>
                  <a:pt x="1862354" y="2906097"/>
                </a:lnTo>
                <a:cubicBezTo>
                  <a:pt x="1861539" y="2904468"/>
                  <a:pt x="1860724" y="2903653"/>
                  <a:pt x="1859095" y="2903653"/>
                </a:cubicBezTo>
                <a:lnTo>
                  <a:pt x="1779257" y="2903653"/>
                </a:lnTo>
                <a:cubicBezTo>
                  <a:pt x="1776813" y="2903653"/>
                  <a:pt x="1775998" y="2905282"/>
                  <a:pt x="1775183" y="2906911"/>
                </a:cubicBezTo>
                <a:lnTo>
                  <a:pt x="1753187" y="2972070"/>
                </a:lnTo>
                <a:cubicBezTo>
                  <a:pt x="1749928" y="2981029"/>
                  <a:pt x="1748299" y="2989989"/>
                  <a:pt x="1748299" y="2996505"/>
                </a:cubicBezTo>
                <a:cubicBezTo>
                  <a:pt x="1748299" y="3003836"/>
                  <a:pt x="1755631" y="3007093"/>
                  <a:pt x="1762148" y="3007093"/>
                </a:cubicBezTo>
                <a:lnTo>
                  <a:pt x="1766222" y="3007093"/>
                </a:lnTo>
                <a:cubicBezTo>
                  <a:pt x="1769481" y="3007093"/>
                  <a:pt x="1770295" y="3007908"/>
                  <a:pt x="1770295" y="3009537"/>
                </a:cubicBezTo>
                <a:cubicBezTo>
                  <a:pt x="1770295" y="3011980"/>
                  <a:pt x="1767851" y="3012795"/>
                  <a:pt x="1764592" y="3012795"/>
                </a:cubicBezTo>
                <a:cubicBezTo>
                  <a:pt x="1755631" y="3012795"/>
                  <a:pt x="1740152" y="3011980"/>
                  <a:pt x="1736079" y="3011980"/>
                </a:cubicBezTo>
                <a:cubicBezTo>
                  <a:pt x="1732005" y="3011980"/>
                  <a:pt x="1711638" y="3012795"/>
                  <a:pt x="1694530" y="3012795"/>
                </a:cubicBezTo>
                <a:cubicBezTo>
                  <a:pt x="1689642" y="3012795"/>
                  <a:pt x="1687198" y="3011980"/>
                  <a:pt x="1687198" y="3009537"/>
                </a:cubicBezTo>
                <a:cubicBezTo>
                  <a:pt x="1687198" y="3007908"/>
                  <a:pt x="1688827" y="3007093"/>
                  <a:pt x="1690457" y="3007093"/>
                </a:cubicBezTo>
                <a:cubicBezTo>
                  <a:pt x="1692901" y="3007093"/>
                  <a:pt x="1697789" y="3006279"/>
                  <a:pt x="1701048" y="3006279"/>
                </a:cubicBezTo>
                <a:cubicBezTo>
                  <a:pt x="1718156" y="3003836"/>
                  <a:pt x="1725488" y="2989989"/>
                  <a:pt x="1732005" y="2971256"/>
                </a:cubicBezTo>
                <a:lnTo>
                  <a:pt x="1815917" y="2743199"/>
                </a:lnTo>
                <a:cubicBezTo>
                  <a:pt x="1819990" y="2730981"/>
                  <a:pt x="1821620" y="2728538"/>
                  <a:pt x="1824064" y="2728538"/>
                </a:cubicBezTo>
                <a:close/>
                <a:moveTo>
                  <a:pt x="2006552" y="2727724"/>
                </a:moveTo>
                <a:cubicBezTo>
                  <a:pt x="2009810" y="2727724"/>
                  <a:pt x="2015513" y="2735869"/>
                  <a:pt x="2019586" y="2739941"/>
                </a:cubicBezTo>
                <a:cubicBezTo>
                  <a:pt x="2025289" y="2746457"/>
                  <a:pt x="2079873" y="2805915"/>
                  <a:pt x="2136900" y="2867002"/>
                </a:cubicBezTo>
                <a:cubicBezTo>
                  <a:pt x="2173561" y="2906097"/>
                  <a:pt x="2213480" y="2950894"/>
                  <a:pt x="2225700" y="2963112"/>
                </a:cubicBezTo>
                <a:lnTo>
                  <a:pt x="2221627" y="2775779"/>
                </a:lnTo>
                <a:cubicBezTo>
                  <a:pt x="2221627" y="2752159"/>
                  <a:pt x="2218368" y="2744014"/>
                  <a:pt x="2206962" y="2740756"/>
                </a:cubicBezTo>
                <a:cubicBezTo>
                  <a:pt x="2200445" y="2739127"/>
                  <a:pt x="2191483" y="2739127"/>
                  <a:pt x="2189039" y="2739127"/>
                </a:cubicBezTo>
                <a:cubicBezTo>
                  <a:pt x="2186595" y="2739127"/>
                  <a:pt x="2185781" y="2738312"/>
                  <a:pt x="2185781" y="2736683"/>
                </a:cubicBezTo>
                <a:cubicBezTo>
                  <a:pt x="2185781" y="2734240"/>
                  <a:pt x="2189039" y="2734240"/>
                  <a:pt x="2193113" y="2734240"/>
                </a:cubicBezTo>
                <a:cubicBezTo>
                  <a:pt x="2209406" y="2734240"/>
                  <a:pt x="2227329" y="2735054"/>
                  <a:pt x="2231403" y="2735054"/>
                </a:cubicBezTo>
                <a:cubicBezTo>
                  <a:pt x="2235476" y="2735054"/>
                  <a:pt x="2247696" y="2734240"/>
                  <a:pt x="2263175" y="2734240"/>
                </a:cubicBezTo>
                <a:cubicBezTo>
                  <a:pt x="2267249" y="2734240"/>
                  <a:pt x="2269692" y="2734240"/>
                  <a:pt x="2269692" y="2736683"/>
                </a:cubicBezTo>
                <a:cubicBezTo>
                  <a:pt x="2269692" y="2738312"/>
                  <a:pt x="2268063" y="2739127"/>
                  <a:pt x="2265619" y="2739127"/>
                </a:cubicBezTo>
                <a:cubicBezTo>
                  <a:pt x="2263990" y="2739127"/>
                  <a:pt x="2261546" y="2739127"/>
                  <a:pt x="2256658" y="2739941"/>
                </a:cubicBezTo>
                <a:cubicBezTo>
                  <a:pt x="2244437" y="2742385"/>
                  <a:pt x="2242808" y="2750530"/>
                  <a:pt x="2242808" y="2772521"/>
                </a:cubicBezTo>
                <a:lnTo>
                  <a:pt x="2241993" y="2989175"/>
                </a:lnTo>
                <a:cubicBezTo>
                  <a:pt x="2241993" y="3013610"/>
                  <a:pt x="2241179" y="3015239"/>
                  <a:pt x="2238735" y="3015239"/>
                </a:cubicBezTo>
                <a:cubicBezTo>
                  <a:pt x="2235476" y="3015239"/>
                  <a:pt x="2231403" y="3011166"/>
                  <a:pt x="2211850" y="2991619"/>
                </a:cubicBezTo>
                <a:cubicBezTo>
                  <a:pt x="2207777" y="2988361"/>
                  <a:pt x="2154823" y="2933790"/>
                  <a:pt x="2115718" y="2891436"/>
                </a:cubicBezTo>
                <a:cubicBezTo>
                  <a:pt x="2072540" y="2845010"/>
                  <a:pt x="2030992" y="2798585"/>
                  <a:pt x="2019586" y="2785553"/>
                </a:cubicBezTo>
                <a:lnTo>
                  <a:pt x="2022030" y="2962297"/>
                </a:lnTo>
                <a:cubicBezTo>
                  <a:pt x="2022845" y="2992433"/>
                  <a:pt x="2026104" y="3002207"/>
                  <a:pt x="2036695" y="3005465"/>
                </a:cubicBezTo>
                <a:cubicBezTo>
                  <a:pt x="2044027" y="3007094"/>
                  <a:pt x="2052173" y="3007909"/>
                  <a:pt x="2055432" y="3007909"/>
                </a:cubicBezTo>
                <a:cubicBezTo>
                  <a:pt x="2057061" y="3007909"/>
                  <a:pt x="2058691" y="3008723"/>
                  <a:pt x="2058691" y="3010352"/>
                </a:cubicBezTo>
                <a:cubicBezTo>
                  <a:pt x="2058691" y="3012795"/>
                  <a:pt x="2056247" y="3013610"/>
                  <a:pt x="2052173" y="3013610"/>
                </a:cubicBezTo>
                <a:cubicBezTo>
                  <a:pt x="2030992" y="3013610"/>
                  <a:pt x="2016328" y="3012795"/>
                  <a:pt x="2013069" y="3012795"/>
                </a:cubicBezTo>
                <a:cubicBezTo>
                  <a:pt x="2009810" y="3012795"/>
                  <a:pt x="1994331" y="3013610"/>
                  <a:pt x="1978038" y="3013610"/>
                </a:cubicBezTo>
                <a:cubicBezTo>
                  <a:pt x="1973964" y="3013610"/>
                  <a:pt x="1972335" y="3013610"/>
                  <a:pt x="1972335" y="3010352"/>
                </a:cubicBezTo>
                <a:cubicBezTo>
                  <a:pt x="1972335" y="3008723"/>
                  <a:pt x="1973150" y="3007909"/>
                  <a:pt x="1975594" y="3007909"/>
                </a:cubicBezTo>
                <a:cubicBezTo>
                  <a:pt x="1978852" y="3007909"/>
                  <a:pt x="1985370" y="3007909"/>
                  <a:pt x="1991072" y="3005465"/>
                </a:cubicBezTo>
                <a:cubicBezTo>
                  <a:pt x="2000034" y="3003021"/>
                  <a:pt x="2002478" y="2992433"/>
                  <a:pt x="2002478" y="2958224"/>
                </a:cubicBezTo>
                <a:lnTo>
                  <a:pt x="2002478" y="2746457"/>
                </a:lnTo>
                <a:cubicBezTo>
                  <a:pt x="2002478" y="2731796"/>
                  <a:pt x="2003293" y="2727724"/>
                  <a:pt x="2006552" y="2727724"/>
                </a:cubicBezTo>
                <a:close/>
                <a:moveTo>
                  <a:pt x="1423242" y="2727724"/>
                </a:moveTo>
                <a:cubicBezTo>
                  <a:pt x="1437906" y="2727724"/>
                  <a:pt x="1448497" y="2729353"/>
                  <a:pt x="1457459" y="2731796"/>
                </a:cubicBezTo>
                <a:cubicBezTo>
                  <a:pt x="1464791" y="2733426"/>
                  <a:pt x="1467235" y="2733426"/>
                  <a:pt x="1470493" y="2733426"/>
                </a:cubicBezTo>
                <a:cubicBezTo>
                  <a:pt x="1473752" y="2733426"/>
                  <a:pt x="1474567" y="2734240"/>
                  <a:pt x="1474567" y="2735869"/>
                </a:cubicBezTo>
                <a:cubicBezTo>
                  <a:pt x="1474567" y="2737498"/>
                  <a:pt x="1472938" y="2749715"/>
                  <a:pt x="1472938" y="2774964"/>
                </a:cubicBezTo>
                <a:cubicBezTo>
                  <a:pt x="1472938" y="2780666"/>
                  <a:pt x="1472123" y="2783109"/>
                  <a:pt x="1470493" y="2783109"/>
                </a:cubicBezTo>
                <a:cubicBezTo>
                  <a:pt x="1468049" y="2783109"/>
                  <a:pt x="1468049" y="2781480"/>
                  <a:pt x="1467235" y="2778222"/>
                </a:cubicBezTo>
                <a:cubicBezTo>
                  <a:pt x="1466420" y="2774150"/>
                  <a:pt x="1464791" y="2763561"/>
                  <a:pt x="1462347" y="2759489"/>
                </a:cubicBezTo>
                <a:cubicBezTo>
                  <a:pt x="1459903" y="2755417"/>
                  <a:pt x="1450126" y="2739941"/>
                  <a:pt x="1415910" y="2739941"/>
                </a:cubicBezTo>
                <a:cubicBezTo>
                  <a:pt x="1390655" y="2739941"/>
                  <a:pt x="1370288" y="2756231"/>
                  <a:pt x="1370288" y="2783109"/>
                </a:cubicBezTo>
                <a:cubicBezTo>
                  <a:pt x="1370288" y="2804286"/>
                  <a:pt x="1380879" y="2816503"/>
                  <a:pt x="1415095" y="2845010"/>
                </a:cubicBezTo>
                <a:lnTo>
                  <a:pt x="1425686" y="2853155"/>
                </a:lnTo>
                <a:cubicBezTo>
                  <a:pt x="1468864" y="2887364"/>
                  <a:pt x="1479455" y="2910170"/>
                  <a:pt x="1479455" y="2940306"/>
                </a:cubicBezTo>
                <a:cubicBezTo>
                  <a:pt x="1479455" y="2955781"/>
                  <a:pt x="1473752" y="2983474"/>
                  <a:pt x="1447683" y="3001392"/>
                </a:cubicBezTo>
                <a:cubicBezTo>
                  <a:pt x="1432204" y="3012795"/>
                  <a:pt x="1411837" y="3016868"/>
                  <a:pt x="1392284" y="3016868"/>
                </a:cubicBezTo>
                <a:cubicBezTo>
                  <a:pt x="1375176" y="3017682"/>
                  <a:pt x="1358068" y="3015239"/>
                  <a:pt x="1343404" y="3007094"/>
                </a:cubicBezTo>
                <a:cubicBezTo>
                  <a:pt x="1338516" y="3004650"/>
                  <a:pt x="1337701" y="3003021"/>
                  <a:pt x="1337701" y="2993247"/>
                </a:cubicBezTo>
                <a:cubicBezTo>
                  <a:pt x="1337701" y="2974514"/>
                  <a:pt x="1339330" y="2959853"/>
                  <a:pt x="1339330" y="2954152"/>
                </a:cubicBezTo>
                <a:cubicBezTo>
                  <a:pt x="1339330" y="2950079"/>
                  <a:pt x="1340145" y="2948450"/>
                  <a:pt x="1342589" y="2948450"/>
                </a:cubicBezTo>
                <a:cubicBezTo>
                  <a:pt x="1345033" y="2948450"/>
                  <a:pt x="1345033" y="2949265"/>
                  <a:pt x="1345033" y="2952523"/>
                </a:cubicBezTo>
                <a:cubicBezTo>
                  <a:pt x="1345033" y="2955781"/>
                  <a:pt x="1345033" y="2960668"/>
                  <a:pt x="1345848" y="2966369"/>
                </a:cubicBezTo>
                <a:cubicBezTo>
                  <a:pt x="1351550" y="2994062"/>
                  <a:pt x="1375991" y="3003836"/>
                  <a:pt x="1400431" y="3003836"/>
                </a:cubicBezTo>
                <a:cubicBezTo>
                  <a:pt x="1436277" y="3003836"/>
                  <a:pt x="1453385" y="2978587"/>
                  <a:pt x="1453385" y="2954967"/>
                </a:cubicBezTo>
                <a:cubicBezTo>
                  <a:pt x="1453385" y="2929717"/>
                  <a:pt x="1442794" y="2915057"/>
                  <a:pt x="1411022" y="2888179"/>
                </a:cubicBezTo>
                <a:lnTo>
                  <a:pt x="1394728" y="2874332"/>
                </a:lnTo>
                <a:cubicBezTo>
                  <a:pt x="1355624" y="2842567"/>
                  <a:pt x="1346663" y="2818947"/>
                  <a:pt x="1346663" y="2794512"/>
                </a:cubicBezTo>
                <a:cubicBezTo>
                  <a:pt x="1346663" y="2754602"/>
                  <a:pt x="1375991" y="2727724"/>
                  <a:pt x="1423242" y="2727724"/>
                </a:cubicBezTo>
                <a:close/>
                <a:moveTo>
                  <a:pt x="1054193" y="2727724"/>
                </a:moveTo>
                <a:cubicBezTo>
                  <a:pt x="1057452" y="2727724"/>
                  <a:pt x="1063155" y="2735869"/>
                  <a:pt x="1067228" y="2739941"/>
                </a:cubicBezTo>
                <a:cubicBezTo>
                  <a:pt x="1072931" y="2746457"/>
                  <a:pt x="1127514" y="2805915"/>
                  <a:pt x="1184542" y="2867002"/>
                </a:cubicBezTo>
                <a:cubicBezTo>
                  <a:pt x="1221202" y="2906097"/>
                  <a:pt x="1261122" y="2950894"/>
                  <a:pt x="1273342" y="2963112"/>
                </a:cubicBezTo>
                <a:lnTo>
                  <a:pt x="1269269" y="2775779"/>
                </a:lnTo>
                <a:cubicBezTo>
                  <a:pt x="1269269" y="2752159"/>
                  <a:pt x="1266010" y="2744014"/>
                  <a:pt x="1254604" y="2740756"/>
                </a:cubicBezTo>
                <a:cubicBezTo>
                  <a:pt x="1248087" y="2739127"/>
                  <a:pt x="1239125" y="2739127"/>
                  <a:pt x="1236681" y="2739127"/>
                </a:cubicBezTo>
                <a:cubicBezTo>
                  <a:pt x="1234237" y="2739127"/>
                  <a:pt x="1233422" y="2738312"/>
                  <a:pt x="1233422" y="2736683"/>
                </a:cubicBezTo>
                <a:cubicBezTo>
                  <a:pt x="1233422" y="2734240"/>
                  <a:pt x="1236681" y="2734240"/>
                  <a:pt x="1240755" y="2734240"/>
                </a:cubicBezTo>
                <a:cubicBezTo>
                  <a:pt x="1257048" y="2734240"/>
                  <a:pt x="1274971" y="2735054"/>
                  <a:pt x="1279045" y="2735054"/>
                </a:cubicBezTo>
                <a:cubicBezTo>
                  <a:pt x="1283118" y="2735054"/>
                  <a:pt x="1295338" y="2734240"/>
                  <a:pt x="1310817" y="2734240"/>
                </a:cubicBezTo>
                <a:cubicBezTo>
                  <a:pt x="1314890" y="2734240"/>
                  <a:pt x="1317334" y="2734240"/>
                  <a:pt x="1317334" y="2736683"/>
                </a:cubicBezTo>
                <a:cubicBezTo>
                  <a:pt x="1317334" y="2738312"/>
                  <a:pt x="1315705" y="2739127"/>
                  <a:pt x="1313261" y="2739127"/>
                </a:cubicBezTo>
                <a:cubicBezTo>
                  <a:pt x="1311632" y="2739127"/>
                  <a:pt x="1309188" y="2739127"/>
                  <a:pt x="1304300" y="2739941"/>
                </a:cubicBezTo>
                <a:cubicBezTo>
                  <a:pt x="1292079" y="2742385"/>
                  <a:pt x="1290450" y="2750530"/>
                  <a:pt x="1290450" y="2772521"/>
                </a:cubicBezTo>
                <a:lnTo>
                  <a:pt x="1289635" y="2989175"/>
                </a:lnTo>
                <a:cubicBezTo>
                  <a:pt x="1289635" y="3013610"/>
                  <a:pt x="1288821" y="3015239"/>
                  <a:pt x="1286377" y="3015239"/>
                </a:cubicBezTo>
                <a:cubicBezTo>
                  <a:pt x="1283118" y="3015239"/>
                  <a:pt x="1279045" y="3011166"/>
                  <a:pt x="1259492" y="2991619"/>
                </a:cubicBezTo>
                <a:cubicBezTo>
                  <a:pt x="1255419" y="2988361"/>
                  <a:pt x="1202465" y="2933790"/>
                  <a:pt x="1163360" y="2891436"/>
                </a:cubicBezTo>
                <a:cubicBezTo>
                  <a:pt x="1120182" y="2845010"/>
                  <a:pt x="1078634" y="2798585"/>
                  <a:pt x="1067228" y="2785553"/>
                </a:cubicBezTo>
                <a:lnTo>
                  <a:pt x="1070487" y="2962297"/>
                </a:lnTo>
                <a:cubicBezTo>
                  <a:pt x="1071302" y="2992433"/>
                  <a:pt x="1074560" y="3002207"/>
                  <a:pt x="1085151" y="3005465"/>
                </a:cubicBezTo>
                <a:cubicBezTo>
                  <a:pt x="1092483" y="3007094"/>
                  <a:pt x="1100630" y="3007909"/>
                  <a:pt x="1103889" y="3007909"/>
                </a:cubicBezTo>
                <a:cubicBezTo>
                  <a:pt x="1105518" y="3007909"/>
                  <a:pt x="1107147" y="3008723"/>
                  <a:pt x="1107147" y="3010352"/>
                </a:cubicBezTo>
                <a:cubicBezTo>
                  <a:pt x="1107147" y="3012795"/>
                  <a:pt x="1104703" y="3013610"/>
                  <a:pt x="1100630" y="3013610"/>
                </a:cubicBezTo>
                <a:cubicBezTo>
                  <a:pt x="1079448" y="3013610"/>
                  <a:pt x="1064784" y="3012795"/>
                  <a:pt x="1061526" y="3012795"/>
                </a:cubicBezTo>
                <a:cubicBezTo>
                  <a:pt x="1058267" y="3012795"/>
                  <a:pt x="1042788" y="3013610"/>
                  <a:pt x="1025680" y="3013610"/>
                </a:cubicBezTo>
                <a:cubicBezTo>
                  <a:pt x="1021606" y="3013610"/>
                  <a:pt x="1019977" y="3013610"/>
                  <a:pt x="1019977" y="3010352"/>
                </a:cubicBezTo>
                <a:cubicBezTo>
                  <a:pt x="1019977" y="3008723"/>
                  <a:pt x="1020792" y="3007909"/>
                  <a:pt x="1023236" y="3007909"/>
                </a:cubicBezTo>
                <a:cubicBezTo>
                  <a:pt x="1026494" y="3007909"/>
                  <a:pt x="1033012" y="3007909"/>
                  <a:pt x="1038714" y="3005465"/>
                </a:cubicBezTo>
                <a:cubicBezTo>
                  <a:pt x="1047676" y="3003021"/>
                  <a:pt x="1050120" y="2992433"/>
                  <a:pt x="1050120" y="2958224"/>
                </a:cubicBezTo>
                <a:lnTo>
                  <a:pt x="1050120" y="2746457"/>
                </a:lnTo>
                <a:cubicBezTo>
                  <a:pt x="1050120" y="2731796"/>
                  <a:pt x="1050935" y="2727724"/>
                  <a:pt x="1054193" y="2727724"/>
                </a:cubicBezTo>
                <a:close/>
                <a:moveTo>
                  <a:pt x="158047" y="2727724"/>
                </a:moveTo>
                <a:cubicBezTo>
                  <a:pt x="241145" y="2727724"/>
                  <a:pt x="303060" y="2780666"/>
                  <a:pt x="303060" y="2866187"/>
                </a:cubicBezTo>
                <a:cubicBezTo>
                  <a:pt x="303060" y="2930532"/>
                  <a:pt x="262326" y="2973700"/>
                  <a:pt x="237886" y="2989990"/>
                </a:cubicBezTo>
                <a:lnTo>
                  <a:pt x="313651" y="3029085"/>
                </a:lnTo>
                <a:cubicBezTo>
                  <a:pt x="394304" y="3071439"/>
                  <a:pt x="450517" y="3073068"/>
                  <a:pt x="469254" y="3073068"/>
                </a:cubicBezTo>
                <a:cubicBezTo>
                  <a:pt x="487177" y="3073068"/>
                  <a:pt x="516506" y="3068995"/>
                  <a:pt x="541761" y="3058406"/>
                </a:cubicBezTo>
                <a:cubicBezTo>
                  <a:pt x="543390" y="3057592"/>
                  <a:pt x="545834" y="3056778"/>
                  <a:pt x="546649" y="3056778"/>
                </a:cubicBezTo>
                <a:cubicBezTo>
                  <a:pt x="548278" y="3056778"/>
                  <a:pt x="549093" y="3058406"/>
                  <a:pt x="549093" y="3059221"/>
                </a:cubicBezTo>
                <a:cubicBezTo>
                  <a:pt x="549093" y="3060850"/>
                  <a:pt x="548278" y="3062479"/>
                  <a:pt x="545834" y="3063294"/>
                </a:cubicBezTo>
                <a:cubicBezTo>
                  <a:pt x="524653" y="3073068"/>
                  <a:pt x="483104" y="3088543"/>
                  <a:pt x="428521" y="3088543"/>
                </a:cubicBezTo>
                <a:cubicBezTo>
                  <a:pt x="383713" y="3088543"/>
                  <a:pt x="335647" y="3071439"/>
                  <a:pt x="276176" y="3038859"/>
                </a:cubicBezTo>
                <a:lnTo>
                  <a:pt x="214260" y="3004650"/>
                </a:lnTo>
                <a:cubicBezTo>
                  <a:pt x="201225" y="3011166"/>
                  <a:pt x="175970" y="3016868"/>
                  <a:pt x="156418" y="3016868"/>
                </a:cubicBezTo>
                <a:cubicBezTo>
                  <a:pt x="54583" y="3016868"/>
                  <a:pt x="12220" y="2938677"/>
                  <a:pt x="12220" y="2871889"/>
                </a:cubicBezTo>
                <a:cubicBezTo>
                  <a:pt x="12220" y="2812431"/>
                  <a:pt x="56213" y="2727724"/>
                  <a:pt x="158047" y="2727724"/>
                </a:cubicBezTo>
                <a:close/>
                <a:moveTo>
                  <a:pt x="1200021" y="2338398"/>
                </a:moveTo>
                <a:lnTo>
                  <a:pt x="1200835" y="2338398"/>
                </a:lnTo>
                <a:lnTo>
                  <a:pt x="1217129" y="2398670"/>
                </a:lnTo>
                <a:lnTo>
                  <a:pt x="1182098" y="2398670"/>
                </a:lnTo>
                <a:close/>
                <a:moveTo>
                  <a:pt x="886370" y="2338398"/>
                </a:moveTo>
                <a:lnTo>
                  <a:pt x="902663" y="2398670"/>
                </a:lnTo>
                <a:lnTo>
                  <a:pt x="868447" y="2398670"/>
                </a:lnTo>
                <a:close/>
                <a:moveTo>
                  <a:pt x="497768" y="2338398"/>
                </a:moveTo>
                <a:lnTo>
                  <a:pt x="514061" y="2398670"/>
                </a:lnTo>
                <a:lnTo>
                  <a:pt x="479845" y="2398670"/>
                </a:lnTo>
                <a:close/>
                <a:moveTo>
                  <a:pt x="1650538" y="2336769"/>
                </a:moveTo>
                <a:lnTo>
                  <a:pt x="1658685" y="2336769"/>
                </a:lnTo>
                <a:cubicBezTo>
                  <a:pt x="1685569" y="2336769"/>
                  <a:pt x="1697789" y="2354688"/>
                  <a:pt x="1697789" y="2383195"/>
                </a:cubicBezTo>
                <a:cubicBezTo>
                  <a:pt x="1697789" y="2411702"/>
                  <a:pt x="1685569" y="2429621"/>
                  <a:pt x="1658685" y="2429621"/>
                </a:cubicBezTo>
                <a:lnTo>
                  <a:pt x="1650538" y="2429621"/>
                </a:lnTo>
                <a:close/>
                <a:moveTo>
                  <a:pt x="736469" y="2336769"/>
                </a:moveTo>
                <a:lnTo>
                  <a:pt x="744616" y="2336769"/>
                </a:lnTo>
                <a:cubicBezTo>
                  <a:pt x="771500" y="2336769"/>
                  <a:pt x="783720" y="2354688"/>
                  <a:pt x="783720" y="2383195"/>
                </a:cubicBezTo>
                <a:cubicBezTo>
                  <a:pt x="783720" y="2411702"/>
                  <a:pt x="771500" y="2429621"/>
                  <a:pt x="744616" y="2429621"/>
                </a:cubicBezTo>
                <a:lnTo>
                  <a:pt x="736469" y="2429621"/>
                </a:lnTo>
                <a:close/>
                <a:moveTo>
                  <a:pt x="1977223" y="2318850"/>
                </a:moveTo>
                <a:lnTo>
                  <a:pt x="1977223" y="2448355"/>
                </a:lnTo>
                <a:lnTo>
                  <a:pt x="2000849" y="2448355"/>
                </a:lnTo>
                <a:lnTo>
                  <a:pt x="2000849" y="2318850"/>
                </a:lnTo>
                <a:close/>
                <a:moveTo>
                  <a:pt x="1873759" y="2318850"/>
                </a:moveTo>
                <a:lnTo>
                  <a:pt x="1873759" y="2448355"/>
                </a:lnTo>
                <a:lnTo>
                  <a:pt x="1940563" y="2448355"/>
                </a:lnTo>
                <a:lnTo>
                  <a:pt x="1940563" y="2429621"/>
                </a:lnTo>
                <a:lnTo>
                  <a:pt x="1898199" y="2429621"/>
                </a:lnTo>
                <a:lnTo>
                  <a:pt x="1898199" y="2318850"/>
                </a:lnTo>
                <a:lnTo>
                  <a:pt x="1874574" y="2318850"/>
                </a:lnTo>
                <a:close/>
                <a:moveTo>
                  <a:pt x="1763777" y="2318850"/>
                </a:moveTo>
                <a:lnTo>
                  <a:pt x="1763777" y="2447540"/>
                </a:lnTo>
                <a:lnTo>
                  <a:pt x="1833840" y="2447540"/>
                </a:lnTo>
                <a:lnTo>
                  <a:pt x="1833840" y="2428807"/>
                </a:lnTo>
                <a:lnTo>
                  <a:pt x="1787403" y="2428807"/>
                </a:lnTo>
                <a:lnTo>
                  <a:pt x="1787403" y="2390526"/>
                </a:lnTo>
                <a:lnTo>
                  <a:pt x="1829766" y="2390526"/>
                </a:lnTo>
                <a:lnTo>
                  <a:pt x="1829766" y="2371792"/>
                </a:lnTo>
                <a:lnTo>
                  <a:pt x="1787403" y="2371792"/>
                </a:lnTo>
                <a:lnTo>
                  <a:pt x="1787403" y="2337584"/>
                </a:lnTo>
                <a:lnTo>
                  <a:pt x="1832210" y="2337584"/>
                </a:lnTo>
                <a:lnTo>
                  <a:pt x="1832210" y="2318850"/>
                </a:lnTo>
                <a:close/>
                <a:moveTo>
                  <a:pt x="1627726" y="2318850"/>
                </a:moveTo>
                <a:lnTo>
                  <a:pt x="1627726" y="2449169"/>
                </a:lnTo>
                <a:lnTo>
                  <a:pt x="1661128" y="2449169"/>
                </a:lnTo>
                <a:cubicBezTo>
                  <a:pt x="1696974" y="2449169"/>
                  <a:pt x="1723044" y="2427992"/>
                  <a:pt x="1723044" y="2384010"/>
                </a:cubicBezTo>
                <a:cubicBezTo>
                  <a:pt x="1723044" y="2340842"/>
                  <a:pt x="1701862" y="2318850"/>
                  <a:pt x="1661128" y="2318850"/>
                </a:cubicBezTo>
                <a:close/>
                <a:moveTo>
                  <a:pt x="1558479" y="2318850"/>
                </a:moveTo>
                <a:lnTo>
                  <a:pt x="1558479" y="2448355"/>
                </a:lnTo>
                <a:lnTo>
                  <a:pt x="1582104" y="2448355"/>
                </a:lnTo>
                <a:lnTo>
                  <a:pt x="1582104" y="2318850"/>
                </a:lnTo>
                <a:close/>
                <a:moveTo>
                  <a:pt x="1454200" y="2318850"/>
                </a:moveTo>
                <a:lnTo>
                  <a:pt x="1454200" y="2447540"/>
                </a:lnTo>
                <a:lnTo>
                  <a:pt x="1477825" y="2447540"/>
                </a:lnTo>
                <a:lnTo>
                  <a:pt x="1477825" y="2391340"/>
                </a:lnTo>
                <a:lnTo>
                  <a:pt x="1517745" y="2391340"/>
                </a:lnTo>
                <a:lnTo>
                  <a:pt x="1517745" y="2372607"/>
                </a:lnTo>
                <a:lnTo>
                  <a:pt x="1477825" y="2372607"/>
                </a:lnTo>
                <a:lnTo>
                  <a:pt x="1477825" y="2337584"/>
                </a:lnTo>
                <a:lnTo>
                  <a:pt x="1519374" y="2337584"/>
                </a:lnTo>
                <a:lnTo>
                  <a:pt x="1519374" y="2318850"/>
                </a:lnTo>
                <a:close/>
                <a:moveTo>
                  <a:pt x="1269268" y="2318850"/>
                </a:moveTo>
                <a:lnTo>
                  <a:pt x="1269268" y="2337584"/>
                </a:lnTo>
                <a:lnTo>
                  <a:pt x="1298596" y="2337584"/>
                </a:lnTo>
                <a:lnTo>
                  <a:pt x="1298596" y="2448355"/>
                </a:lnTo>
                <a:lnTo>
                  <a:pt x="1322222" y="2448355"/>
                </a:lnTo>
                <a:lnTo>
                  <a:pt x="1322222" y="2337584"/>
                </a:lnTo>
                <a:lnTo>
                  <a:pt x="1350736" y="2337584"/>
                </a:lnTo>
                <a:lnTo>
                  <a:pt x="1350736" y="2318850"/>
                </a:lnTo>
                <a:close/>
                <a:moveTo>
                  <a:pt x="1187800" y="2318850"/>
                </a:moveTo>
                <a:lnTo>
                  <a:pt x="1144622" y="2448355"/>
                </a:lnTo>
                <a:lnTo>
                  <a:pt x="1168248" y="2448355"/>
                </a:lnTo>
                <a:lnTo>
                  <a:pt x="1177209" y="2417404"/>
                </a:lnTo>
                <a:lnTo>
                  <a:pt x="1222017" y="2417404"/>
                </a:lnTo>
                <a:lnTo>
                  <a:pt x="1230978" y="2448355"/>
                </a:lnTo>
                <a:lnTo>
                  <a:pt x="1255418" y="2448355"/>
                </a:lnTo>
                <a:lnTo>
                  <a:pt x="1213870" y="2318850"/>
                </a:lnTo>
                <a:close/>
                <a:moveTo>
                  <a:pt x="966208" y="2318850"/>
                </a:moveTo>
                <a:lnTo>
                  <a:pt x="1000424" y="2379937"/>
                </a:lnTo>
                <a:lnTo>
                  <a:pt x="962134" y="2448355"/>
                </a:lnTo>
                <a:lnTo>
                  <a:pt x="988204" y="2448355"/>
                </a:lnTo>
                <a:lnTo>
                  <a:pt x="1015088" y="2400299"/>
                </a:lnTo>
                <a:lnTo>
                  <a:pt x="1039529" y="2448355"/>
                </a:lnTo>
                <a:lnTo>
                  <a:pt x="1065599" y="2448355"/>
                </a:lnTo>
                <a:lnTo>
                  <a:pt x="1028123" y="2379937"/>
                </a:lnTo>
                <a:lnTo>
                  <a:pt x="1063154" y="2318850"/>
                </a:lnTo>
                <a:lnTo>
                  <a:pt x="1037899" y="2318850"/>
                </a:lnTo>
                <a:lnTo>
                  <a:pt x="1014274" y="2360390"/>
                </a:lnTo>
                <a:lnTo>
                  <a:pt x="993907" y="2318850"/>
                </a:lnTo>
                <a:close/>
                <a:moveTo>
                  <a:pt x="873334" y="2318850"/>
                </a:moveTo>
                <a:lnTo>
                  <a:pt x="830156" y="2448355"/>
                </a:lnTo>
                <a:lnTo>
                  <a:pt x="853782" y="2448355"/>
                </a:lnTo>
                <a:lnTo>
                  <a:pt x="862744" y="2417404"/>
                </a:lnTo>
                <a:lnTo>
                  <a:pt x="907551" y="2417404"/>
                </a:lnTo>
                <a:lnTo>
                  <a:pt x="916512" y="2448355"/>
                </a:lnTo>
                <a:lnTo>
                  <a:pt x="940953" y="2448355"/>
                </a:lnTo>
                <a:lnTo>
                  <a:pt x="899404" y="2318850"/>
                </a:lnTo>
                <a:close/>
                <a:moveTo>
                  <a:pt x="712028" y="2318850"/>
                </a:moveTo>
                <a:lnTo>
                  <a:pt x="712028" y="2448355"/>
                </a:lnTo>
                <a:lnTo>
                  <a:pt x="746245" y="2448355"/>
                </a:lnTo>
                <a:cubicBezTo>
                  <a:pt x="782905" y="2448355"/>
                  <a:pt x="808975" y="2427178"/>
                  <a:pt x="808160" y="2384010"/>
                </a:cubicBezTo>
                <a:cubicBezTo>
                  <a:pt x="808160" y="2340842"/>
                  <a:pt x="786979" y="2318850"/>
                  <a:pt x="746245" y="2318850"/>
                </a:cubicBezTo>
                <a:close/>
                <a:moveTo>
                  <a:pt x="580865" y="2318850"/>
                </a:moveTo>
                <a:lnTo>
                  <a:pt x="580865" y="2402743"/>
                </a:lnTo>
                <a:cubicBezTo>
                  <a:pt x="580865" y="2436951"/>
                  <a:pt x="600417" y="2449983"/>
                  <a:pt x="624858" y="2449983"/>
                </a:cubicBezTo>
                <a:cubicBezTo>
                  <a:pt x="649298" y="2449983"/>
                  <a:pt x="668850" y="2436951"/>
                  <a:pt x="668850" y="2402743"/>
                </a:cubicBezTo>
                <a:lnTo>
                  <a:pt x="668850" y="2318850"/>
                </a:lnTo>
                <a:lnTo>
                  <a:pt x="645225" y="2318850"/>
                </a:lnTo>
                <a:lnTo>
                  <a:pt x="645225" y="2402743"/>
                </a:lnTo>
                <a:cubicBezTo>
                  <a:pt x="645225" y="2423920"/>
                  <a:pt x="638707" y="2431250"/>
                  <a:pt x="624858" y="2431250"/>
                </a:cubicBezTo>
                <a:cubicBezTo>
                  <a:pt x="611008" y="2431250"/>
                  <a:pt x="604491" y="2423920"/>
                  <a:pt x="604491" y="2402743"/>
                </a:cubicBezTo>
                <a:lnTo>
                  <a:pt x="604491" y="2318850"/>
                </a:lnTo>
                <a:close/>
                <a:moveTo>
                  <a:pt x="485548" y="2318850"/>
                </a:moveTo>
                <a:lnTo>
                  <a:pt x="442370" y="2448355"/>
                </a:lnTo>
                <a:lnTo>
                  <a:pt x="465995" y="2448355"/>
                </a:lnTo>
                <a:lnTo>
                  <a:pt x="474957" y="2417404"/>
                </a:lnTo>
                <a:lnTo>
                  <a:pt x="519764" y="2417404"/>
                </a:lnTo>
                <a:lnTo>
                  <a:pt x="528726" y="2448355"/>
                </a:lnTo>
                <a:lnTo>
                  <a:pt x="553166" y="2448355"/>
                </a:lnTo>
                <a:lnTo>
                  <a:pt x="511617" y="2318850"/>
                </a:lnTo>
                <a:close/>
                <a:moveTo>
                  <a:pt x="2083131" y="2316407"/>
                </a:moveTo>
                <a:cubicBezTo>
                  <a:pt x="2061135" y="2316407"/>
                  <a:pt x="2042397" y="2328624"/>
                  <a:pt x="2043212" y="2352245"/>
                </a:cubicBezTo>
                <a:cubicBezTo>
                  <a:pt x="2043212" y="2369349"/>
                  <a:pt x="2051359" y="2379123"/>
                  <a:pt x="2064394" y="2386453"/>
                </a:cubicBezTo>
                <a:lnTo>
                  <a:pt x="2076614" y="2392969"/>
                </a:lnTo>
                <a:cubicBezTo>
                  <a:pt x="2088019" y="2399485"/>
                  <a:pt x="2093722" y="2403558"/>
                  <a:pt x="2093722" y="2412517"/>
                </a:cubicBezTo>
                <a:cubicBezTo>
                  <a:pt x="2093722" y="2425549"/>
                  <a:pt x="2084760" y="2431250"/>
                  <a:pt x="2074170" y="2431250"/>
                </a:cubicBezTo>
                <a:cubicBezTo>
                  <a:pt x="2061135" y="2431250"/>
                  <a:pt x="2051359" y="2426363"/>
                  <a:pt x="2046471" y="2423105"/>
                </a:cubicBezTo>
                <a:lnTo>
                  <a:pt x="2044841" y="2444282"/>
                </a:lnTo>
                <a:cubicBezTo>
                  <a:pt x="2051359" y="2448355"/>
                  <a:pt x="2061135" y="2449983"/>
                  <a:pt x="2074170" y="2449983"/>
                </a:cubicBezTo>
                <a:cubicBezTo>
                  <a:pt x="2098610" y="2449983"/>
                  <a:pt x="2117348" y="2436951"/>
                  <a:pt x="2117348" y="2410888"/>
                </a:cubicBezTo>
                <a:cubicBezTo>
                  <a:pt x="2117348" y="2392969"/>
                  <a:pt x="2110016" y="2384010"/>
                  <a:pt x="2094537" y="2375865"/>
                </a:cubicBezTo>
                <a:lnTo>
                  <a:pt x="2080687" y="2367720"/>
                </a:lnTo>
                <a:cubicBezTo>
                  <a:pt x="2073355" y="2363647"/>
                  <a:pt x="2066838" y="2360390"/>
                  <a:pt x="2066838" y="2350616"/>
                </a:cubicBezTo>
                <a:cubicBezTo>
                  <a:pt x="2066838" y="2341656"/>
                  <a:pt x="2072540" y="2335140"/>
                  <a:pt x="2084760" y="2335140"/>
                </a:cubicBezTo>
                <a:cubicBezTo>
                  <a:pt x="2096166" y="2335140"/>
                  <a:pt x="2103498" y="2338398"/>
                  <a:pt x="2109201" y="2340842"/>
                </a:cubicBezTo>
                <a:lnTo>
                  <a:pt x="2110016" y="2321294"/>
                </a:lnTo>
                <a:cubicBezTo>
                  <a:pt x="2106757" y="2319665"/>
                  <a:pt x="2096981" y="2316407"/>
                  <a:pt x="2083131" y="2316407"/>
                </a:cubicBezTo>
                <a:close/>
                <a:moveTo>
                  <a:pt x="370678" y="2287900"/>
                </a:moveTo>
                <a:lnTo>
                  <a:pt x="1286376" y="2287900"/>
                </a:lnTo>
                <a:lnTo>
                  <a:pt x="1288005" y="2287900"/>
                </a:lnTo>
                <a:lnTo>
                  <a:pt x="2202889" y="2287900"/>
                </a:lnTo>
                <a:lnTo>
                  <a:pt x="2152379" y="2480120"/>
                </a:lnTo>
                <a:lnTo>
                  <a:pt x="1288005" y="2480120"/>
                </a:lnTo>
                <a:lnTo>
                  <a:pt x="1285562" y="2480120"/>
                </a:lnTo>
                <a:lnTo>
                  <a:pt x="421188" y="2480120"/>
                </a:lnTo>
                <a:close/>
                <a:moveTo>
                  <a:pt x="1681496" y="2008530"/>
                </a:moveTo>
                <a:cubicBezTo>
                  <a:pt x="1706751" y="2008530"/>
                  <a:pt x="1727118" y="2028892"/>
                  <a:pt x="1727118" y="2054141"/>
                </a:cubicBezTo>
                <a:cubicBezTo>
                  <a:pt x="1727118" y="2079390"/>
                  <a:pt x="1706751" y="2099753"/>
                  <a:pt x="1681496" y="2099753"/>
                </a:cubicBezTo>
                <a:cubicBezTo>
                  <a:pt x="1659499" y="2099753"/>
                  <a:pt x="1641576" y="2084277"/>
                  <a:pt x="1636688" y="2063915"/>
                </a:cubicBezTo>
                <a:cubicBezTo>
                  <a:pt x="1641576" y="2120929"/>
                  <a:pt x="1675793" y="2223555"/>
                  <a:pt x="1860725" y="2239030"/>
                </a:cubicBezTo>
                <a:lnTo>
                  <a:pt x="1580476" y="2239030"/>
                </a:lnTo>
                <a:cubicBezTo>
                  <a:pt x="1580476" y="2239030"/>
                  <a:pt x="1455015" y="2150251"/>
                  <a:pt x="1626098" y="2032965"/>
                </a:cubicBezTo>
                <a:cubicBezTo>
                  <a:pt x="1626098" y="2032965"/>
                  <a:pt x="1648094" y="2016675"/>
                  <a:pt x="1666832" y="2010973"/>
                </a:cubicBezTo>
                <a:cubicBezTo>
                  <a:pt x="1671720" y="2009344"/>
                  <a:pt x="1676608" y="2008530"/>
                  <a:pt x="1681496" y="2008530"/>
                </a:cubicBezTo>
                <a:close/>
                <a:moveTo>
                  <a:pt x="896146" y="2008530"/>
                </a:moveTo>
                <a:cubicBezTo>
                  <a:pt x="901034" y="2008530"/>
                  <a:pt x="905922" y="2009344"/>
                  <a:pt x="910810" y="2010973"/>
                </a:cubicBezTo>
                <a:cubicBezTo>
                  <a:pt x="929548" y="2016675"/>
                  <a:pt x="951544" y="2032965"/>
                  <a:pt x="951544" y="2032965"/>
                </a:cubicBezTo>
                <a:cubicBezTo>
                  <a:pt x="1122627" y="2150251"/>
                  <a:pt x="997166" y="2239030"/>
                  <a:pt x="997166" y="2239030"/>
                </a:cubicBezTo>
                <a:lnTo>
                  <a:pt x="716917" y="2239030"/>
                </a:lnTo>
                <a:cubicBezTo>
                  <a:pt x="901034" y="2223555"/>
                  <a:pt x="936065" y="2120929"/>
                  <a:pt x="940953" y="2063915"/>
                </a:cubicBezTo>
                <a:cubicBezTo>
                  <a:pt x="936065" y="2084277"/>
                  <a:pt x="918143" y="2099753"/>
                  <a:pt x="896146" y="2099753"/>
                </a:cubicBezTo>
                <a:cubicBezTo>
                  <a:pt x="870891" y="2099753"/>
                  <a:pt x="850524" y="2079390"/>
                  <a:pt x="850524" y="2054141"/>
                </a:cubicBezTo>
                <a:cubicBezTo>
                  <a:pt x="850524" y="2028892"/>
                  <a:pt x="870891" y="2008530"/>
                  <a:pt x="896146" y="2008530"/>
                </a:cubicBezTo>
                <a:close/>
                <a:moveTo>
                  <a:pt x="1485158" y="1890429"/>
                </a:moveTo>
                <a:lnTo>
                  <a:pt x="1509598" y="1918936"/>
                </a:lnTo>
                <a:lnTo>
                  <a:pt x="1466420" y="1955588"/>
                </a:lnTo>
                <a:lnTo>
                  <a:pt x="1446868" y="1933597"/>
                </a:lnTo>
                <a:cubicBezTo>
                  <a:pt x="1446868" y="1933597"/>
                  <a:pt x="1453385" y="1927896"/>
                  <a:pt x="1463976" y="1918936"/>
                </a:cubicBezTo>
                <a:cubicBezTo>
                  <a:pt x="1448497" y="1901832"/>
                  <a:pt x="1427316" y="1886357"/>
                  <a:pt x="1397173" y="1893687"/>
                </a:cubicBezTo>
                <a:cubicBezTo>
                  <a:pt x="1386582" y="1923009"/>
                  <a:pt x="1397987" y="1945814"/>
                  <a:pt x="1413466" y="1962919"/>
                </a:cubicBezTo>
                <a:cubicBezTo>
                  <a:pt x="1423242" y="1953959"/>
                  <a:pt x="1430574" y="1947443"/>
                  <a:pt x="1430574" y="1947443"/>
                </a:cubicBezTo>
                <a:lnTo>
                  <a:pt x="1449312" y="1969435"/>
                </a:lnTo>
                <a:lnTo>
                  <a:pt x="1396358" y="2014231"/>
                </a:lnTo>
                <a:lnTo>
                  <a:pt x="1413466" y="2033779"/>
                </a:lnTo>
                <a:lnTo>
                  <a:pt x="1464791" y="1987353"/>
                </a:lnTo>
                <a:lnTo>
                  <a:pt x="1481899" y="2006901"/>
                </a:lnTo>
                <a:cubicBezTo>
                  <a:pt x="1481899" y="2006901"/>
                  <a:pt x="1471308" y="2023191"/>
                  <a:pt x="1486787" y="2041110"/>
                </a:cubicBezTo>
                <a:cubicBezTo>
                  <a:pt x="1499007" y="2031336"/>
                  <a:pt x="1519374" y="2013417"/>
                  <a:pt x="1530780" y="2002829"/>
                </a:cubicBezTo>
                <a:cubicBezTo>
                  <a:pt x="1515301" y="1984910"/>
                  <a:pt x="1497378" y="1993055"/>
                  <a:pt x="1497378" y="1993055"/>
                </a:cubicBezTo>
                <a:lnTo>
                  <a:pt x="1482714" y="1971878"/>
                </a:lnTo>
                <a:lnTo>
                  <a:pt x="1524262" y="1934412"/>
                </a:lnTo>
                <a:lnTo>
                  <a:pt x="1548703" y="1962919"/>
                </a:lnTo>
                <a:cubicBezTo>
                  <a:pt x="1554406" y="1941742"/>
                  <a:pt x="1548703" y="1920565"/>
                  <a:pt x="1538112" y="1908348"/>
                </a:cubicBezTo>
                <a:cubicBezTo>
                  <a:pt x="1526706" y="1895316"/>
                  <a:pt x="1507969" y="1887171"/>
                  <a:pt x="1485158" y="1890429"/>
                </a:cubicBezTo>
                <a:close/>
                <a:moveTo>
                  <a:pt x="1100630" y="1829342"/>
                </a:moveTo>
                <a:cubicBezTo>
                  <a:pt x="1113665" y="1829342"/>
                  <a:pt x="1156843" y="1831785"/>
                  <a:pt x="1167434" y="1835858"/>
                </a:cubicBezTo>
                <a:cubicBezTo>
                  <a:pt x="1169063" y="1841559"/>
                  <a:pt x="1169063" y="1849704"/>
                  <a:pt x="1168248" y="1855406"/>
                </a:cubicBezTo>
                <a:cubicBezTo>
                  <a:pt x="1151955" y="1860292"/>
                  <a:pt x="1122626" y="1862736"/>
                  <a:pt x="1100630" y="1862736"/>
                </a:cubicBezTo>
                <a:cubicBezTo>
                  <a:pt x="1078634" y="1862736"/>
                  <a:pt x="1049305" y="1860292"/>
                  <a:pt x="1033012" y="1855406"/>
                </a:cubicBezTo>
                <a:cubicBezTo>
                  <a:pt x="1031382" y="1849704"/>
                  <a:pt x="1032197" y="1841559"/>
                  <a:pt x="1033012" y="1835858"/>
                </a:cubicBezTo>
                <a:cubicBezTo>
                  <a:pt x="1044417" y="1831785"/>
                  <a:pt x="1087595" y="1829342"/>
                  <a:pt x="1100630" y="1829342"/>
                </a:cubicBezTo>
                <a:close/>
                <a:moveTo>
                  <a:pt x="1491675" y="1823641"/>
                </a:moveTo>
                <a:cubicBezTo>
                  <a:pt x="1578846" y="1823641"/>
                  <a:pt x="1613877" y="1859478"/>
                  <a:pt x="1643205" y="1904275"/>
                </a:cubicBezTo>
                <a:cubicBezTo>
                  <a:pt x="1591881" y="1997942"/>
                  <a:pt x="1498193" y="2099753"/>
                  <a:pt x="1327925" y="2163283"/>
                </a:cubicBezTo>
                <a:lnTo>
                  <a:pt x="1327925" y="1885542"/>
                </a:lnTo>
                <a:lnTo>
                  <a:pt x="1328740" y="1884728"/>
                </a:lnTo>
                <a:cubicBezTo>
                  <a:pt x="1375991" y="1848076"/>
                  <a:pt x="1406949" y="1823641"/>
                  <a:pt x="1491675" y="1823641"/>
                </a:cubicBezTo>
                <a:close/>
                <a:moveTo>
                  <a:pt x="1978038" y="1722644"/>
                </a:moveTo>
                <a:cubicBezTo>
                  <a:pt x="2010625" y="1738934"/>
                  <a:pt x="2046471" y="1753594"/>
                  <a:pt x="2087205" y="1765812"/>
                </a:cubicBezTo>
                <a:cubicBezTo>
                  <a:pt x="2102684" y="1828528"/>
                  <a:pt x="2140159" y="1867623"/>
                  <a:pt x="2147491" y="1944185"/>
                </a:cubicBezTo>
                <a:cubicBezTo>
                  <a:pt x="2152379" y="2002828"/>
                  <a:pt x="2160526" y="2107083"/>
                  <a:pt x="2165414" y="2173871"/>
                </a:cubicBezTo>
                <a:cubicBezTo>
                  <a:pt x="2173561" y="2217853"/>
                  <a:pt x="2213480" y="2209709"/>
                  <a:pt x="2217553" y="2242288"/>
                </a:cubicBezTo>
                <a:cubicBezTo>
                  <a:pt x="2191483" y="2243103"/>
                  <a:pt x="2011440" y="2224369"/>
                  <a:pt x="2000849" y="2256135"/>
                </a:cubicBezTo>
                <a:cubicBezTo>
                  <a:pt x="2001664" y="2250433"/>
                  <a:pt x="2004922" y="2217853"/>
                  <a:pt x="2046471" y="2208080"/>
                </a:cubicBezTo>
                <a:cubicBezTo>
                  <a:pt x="2079058" y="2199935"/>
                  <a:pt x="2123051" y="2204822"/>
                  <a:pt x="2127939" y="2173871"/>
                </a:cubicBezTo>
                <a:cubicBezTo>
                  <a:pt x="2130383" y="2157581"/>
                  <a:pt x="2102684" y="1938484"/>
                  <a:pt x="2092093" y="1925452"/>
                </a:cubicBezTo>
                <a:cubicBezTo>
                  <a:pt x="2026104" y="1844003"/>
                  <a:pt x="2004108" y="1800835"/>
                  <a:pt x="1978038" y="1722644"/>
                </a:cubicBezTo>
                <a:close/>
                <a:moveTo>
                  <a:pt x="1065090" y="1624804"/>
                </a:moveTo>
                <a:cubicBezTo>
                  <a:pt x="1056841" y="1626127"/>
                  <a:pt x="1048898" y="1629792"/>
                  <a:pt x="1042788" y="1636308"/>
                </a:cubicBezTo>
                <a:lnTo>
                  <a:pt x="1068858" y="1817939"/>
                </a:lnTo>
                <a:lnTo>
                  <a:pt x="1049305" y="1818754"/>
                </a:lnTo>
                <a:lnTo>
                  <a:pt x="1026494" y="1659114"/>
                </a:lnTo>
                <a:cubicBezTo>
                  <a:pt x="963764" y="1652598"/>
                  <a:pt x="971096" y="1714499"/>
                  <a:pt x="979243" y="1731604"/>
                </a:cubicBezTo>
                <a:cubicBezTo>
                  <a:pt x="986575" y="1747893"/>
                  <a:pt x="1005313" y="1791061"/>
                  <a:pt x="1018347" y="1817939"/>
                </a:cubicBezTo>
                <a:cubicBezTo>
                  <a:pt x="1016718" y="1818754"/>
                  <a:pt x="1014274" y="1818754"/>
                  <a:pt x="1012645" y="1819568"/>
                </a:cubicBezTo>
                <a:cubicBezTo>
                  <a:pt x="1009386" y="1835044"/>
                  <a:pt x="1009386" y="1855406"/>
                  <a:pt x="1011830" y="1870881"/>
                </a:cubicBezTo>
                <a:cubicBezTo>
                  <a:pt x="1014274" y="1871696"/>
                  <a:pt x="1017533" y="1872510"/>
                  <a:pt x="1020792" y="1873325"/>
                </a:cubicBezTo>
                <a:cubicBezTo>
                  <a:pt x="1013459" y="1894501"/>
                  <a:pt x="1001239" y="1927895"/>
                  <a:pt x="993907" y="1942556"/>
                </a:cubicBezTo>
                <a:cubicBezTo>
                  <a:pt x="1002869" y="1949072"/>
                  <a:pt x="1013459" y="1953145"/>
                  <a:pt x="1027309" y="1956402"/>
                </a:cubicBezTo>
                <a:cubicBezTo>
                  <a:pt x="1027309" y="1956402"/>
                  <a:pt x="1024050" y="1968620"/>
                  <a:pt x="1020792" y="1980837"/>
                </a:cubicBezTo>
                <a:cubicBezTo>
                  <a:pt x="1040344" y="1986539"/>
                  <a:pt x="1076190" y="1990611"/>
                  <a:pt x="1100630" y="1990611"/>
                </a:cubicBezTo>
                <a:cubicBezTo>
                  <a:pt x="1124256" y="1990611"/>
                  <a:pt x="1160916" y="1986539"/>
                  <a:pt x="1179654" y="1980023"/>
                </a:cubicBezTo>
                <a:cubicBezTo>
                  <a:pt x="1175580" y="1968620"/>
                  <a:pt x="1173136" y="1956402"/>
                  <a:pt x="1173136" y="1956402"/>
                </a:cubicBezTo>
                <a:cubicBezTo>
                  <a:pt x="1186986" y="1953145"/>
                  <a:pt x="1196762" y="1948258"/>
                  <a:pt x="1206538" y="1942556"/>
                </a:cubicBezTo>
                <a:cubicBezTo>
                  <a:pt x="1200021" y="1927895"/>
                  <a:pt x="1186986" y="1893687"/>
                  <a:pt x="1179654" y="1873325"/>
                </a:cubicBezTo>
                <a:cubicBezTo>
                  <a:pt x="1182098" y="1871696"/>
                  <a:pt x="1185356" y="1870881"/>
                  <a:pt x="1188615" y="1870067"/>
                </a:cubicBezTo>
                <a:cubicBezTo>
                  <a:pt x="1191874" y="1854591"/>
                  <a:pt x="1191059" y="1834229"/>
                  <a:pt x="1187801" y="1818754"/>
                </a:cubicBezTo>
                <a:cubicBezTo>
                  <a:pt x="1186171" y="1817939"/>
                  <a:pt x="1184542" y="1817939"/>
                  <a:pt x="1182098" y="1817125"/>
                </a:cubicBezTo>
                <a:cubicBezTo>
                  <a:pt x="1195133" y="1790247"/>
                  <a:pt x="1213870" y="1747079"/>
                  <a:pt x="1221202" y="1730789"/>
                </a:cubicBezTo>
                <a:cubicBezTo>
                  <a:pt x="1229349" y="1714499"/>
                  <a:pt x="1235867" y="1654227"/>
                  <a:pt x="1177210" y="1658300"/>
                </a:cubicBezTo>
                <a:lnTo>
                  <a:pt x="1154399" y="1815496"/>
                </a:lnTo>
                <a:lnTo>
                  <a:pt x="1134847" y="1814681"/>
                </a:lnTo>
                <a:lnTo>
                  <a:pt x="1160101" y="1639566"/>
                </a:lnTo>
                <a:cubicBezTo>
                  <a:pt x="1147881" y="1623276"/>
                  <a:pt x="1125070" y="1620833"/>
                  <a:pt x="1108777" y="1628163"/>
                </a:cubicBezTo>
                <a:lnTo>
                  <a:pt x="1108777" y="1810609"/>
                </a:lnTo>
                <a:lnTo>
                  <a:pt x="1089225" y="1810609"/>
                </a:lnTo>
                <a:lnTo>
                  <a:pt x="1089225" y="1627349"/>
                </a:lnTo>
                <a:cubicBezTo>
                  <a:pt x="1081893" y="1624499"/>
                  <a:pt x="1073338" y="1623480"/>
                  <a:pt x="1065090" y="1624804"/>
                </a:cubicBezTo>
                <a:close/>
                <a:moveTo>
                  <a:pt x="1747484" y="1597213"/>
                </a:moveTo>
                <a:lnTo>
                  <a:pt x="1877832" y="1833415"/>
                </a:lnTo>
                <a:cubicBezTo>
                  <a:pt x="1877832" y="1833415"/>
                  <a:pt x="1893311" y="1756038"/>
                  <a:pt x="1899829" y="1675404"/>
                </a:cubicBezTo>
                <a:cubicBezTo>
                  <a:pt x="1904717" y="1679476"/>
                  <a:pt x="1910420" y="1683549"/>
                  <a:pt x="1915308" y="1686807"/>
                </a:cubicBezTo>
                <a:cubicBezTo>
                  <a:pt x="1927528" y="1724273"/>
                  <a:pt x="1940563" y="1756853"/>
                  <a:pt x="1958486" y="1791061"/>
                </a:cubicBezTo>
                <a:cubicBezTo>
                  <a:pt x="1938933" y="1832600"/>
                  <a:pt x="1913678" y="1883099"/>
                  <a:pt x="1904717" y="1901832"/>
                </a:cubicBezTo>
                <a:cubicBezTo>
                  <a:pt x="1887609" y="1936040"/>
                  <a:pt x="1864798" y="1936855"/>
                  <a:pt x="1848504" y="1901017"/>
                </a:cubicBezTo>
                <a:cubicBezTo>
                  <a:pt x="1833025" y="1864365"/>
                  <a:pt x="1750743" y="1685992"/>
                  <a:pt x="1750743" y="1685992"/>
                </a:cubicBezTo>
                <a:close/>
                <a:moveTo>
                  <a:pt x="633005" y="1596398"/>
                </a:moveTo>
                <a:cubicBezTo>
                  <a:pt x="773944" y="1666444"/>
                  <a:pt x="630561" y="1879026"/>
                  <a:pt x="630561" y="1879026"/>
                </a:cubicBezTo>
                <a:cubicBezTo>
                  <a:pt x="673739" y="1923823"/>
                  <a:pt x="729137" y="1934411"/>
                  <a:pt x="756021" y="1968619"/>
                </a:cubicBezTo>
                <a:cubicBezTo>
                  <a:pt x="800014" y="2024005"/>
                  <a:pt x="808160" y="2073689"/>
                  <a:pt x="808160" y="2073689"/>
                </a:cubicBezTo>
                <a:lnTo>
                  <a:pt x="713658" y="2078576"/>
                </a:lnTo>
                <a:cubicBezTo>
                  <a:pt x="710399" y="2034593"/>
                  <a:pt x="680256" y="2017489"/>
                  <a:pt x="680256" y="2017489"/>
                </a:cubicBezTo>
                <a:lnTo>
                  <a:pt x="653372" y="2022376"/>
                </a:lnTo>
                <a:cubicBezTo>
                  <a:pt x="606935" y="1920565"/>
                  <a:pt x="518135" y="1904275"/>
                  <a:pt x="518135" y="1904275"/>
                </a:cubicBezTo>
                <a:cubicBezTo>
                  <a:pt x="518135" y="1904275"/>
                  <a:pt x="602047" y="1747079"/>
                  <a:pt x="554796" y="1680290"/>
                </a:cubicBezTo>
                <a:cubicBezTo>
                  <a:pt x="571089" y="1665630"/>
                  <a:pt x="633005" y="1596398"/>
                  <a:pt x="633005" y="1596398"/>
                </a:cubicBezTo>
                <a:close/>
                <a:moveTo>
                  <a:pt x="1325481" y="1575222"/>
                </a:moveTo>
                <a:lnTo>
                  <a:pt x="1702677" y="1575222"/>
                </a:lnTo>
                <a:lnTo>
                  <a:pt x="1702677" y="1672961"/>
                </a:lnTo>
                <a:cubicBezTo>
                  <a:pt x="1702677" y="1672961"/>
                  <a:pt x="1706750" y="1767442"/>
                  <a:pt x="1654611" y="1878212"/>
                </a:cubicBezTo>
                <a:cubicBezTo>
                  <a:pt x="1635059" y="1850519"/>
                  <a:pt x="1613062" y="1827714"/>
                  <a:pt x="1578031" y="1813053"/>
                </a:cubicBezTo>
                <a:lnTo>
                  <a:pt x="1578031" y="1760111"/>
                </a:lnTo>
                <a:lnTo>
                  <a:pt x="1578031" y="1747079"/>
                </a:lnTo>
                <a:lnTo>
                  <a:pt x="1564996" y="1747079"/>
                </a:lnTo>
                <a:lnTo>
                  <a:pt x="1548703" y="1747079"/>
                </a:lnTo>
                <a:cubicBezTo>
                  <a:pt x="1547073" y="1679477"/>
                  <a:pt x="1530780" y="1630607"/>
                  <a:pt x="1499007" y="1598028"/>
                </a:cubicBezTo>
                <a:lnTo>
                  <a:pt x="1490046" y="1588254"/>
                </a:lnTo>
                <a:lnTo>
                  <a:pt x="1481085" y="1598028"/>
                </a:lnTo>
                <a:cubicBezTo>
                  <a:pt x="1449312" y="1630607"/>
                  <a:pt x="1433833" y="1679477"/>
                  <a:pt x="1432204" y="1747894"/>
                </a:cubicBezTo>
                <a:lnTo>
                  <a:pt x="1415910" y="1747894"/>
                </a:lnTo>
                <a:lnTo>
                  <a:pt x="1402875" y="1747894"/>
                </a:lnTo>
                <a:lnTo>
                  <a:pt x="1402875" y="1760925"/>
                </a:lnTo>
                <a:lnTo>
                  <a:pt x="1402875" y="1809795"/>
                </a:lnTo>
                <a:cubicBezTo>
                  <a:pt x="1372732" y="1819569"/>
                  <a:pt x="1349921" y="1834230"/>
                  <a:pt x="1325481" y="1852963"/>
                </a:cubicBezTo>
                <a:close/>
                <a:moveTo>
                  <a:pt x="962949" y="1574407"/>
                </a:moveTo>
                <a:lnTo>
                  <a:pt x="1248902" y="1574407"/>
                </a:lnTo>
                <a:lnTo>
                  <a:pt x="1248902" y="2162468"/>
                </a:lnTo>
                <a:cubicBezTo>
                  <a:pt x="1003683" y="2072060"/>
                  <a:pt x="918142" y="1903461"/>
                  <a:pt x="887999" y="1789432"/>
                </a:cubicBezTo>
                <a:cubicBezTo>
                  <a:pt x="894516" y="1777215"/>
                  <a:pt x="908366" y="1753595"/>
                  <a:pt x="935250" y="1721015"/>
                </a:cubicBezTo>
                <a:cubicBezTo>
                  <a:pt x="954803" y="1697395"/>
                  <a:pt x="963764" y="1651783"/>
                  <a:pt x="962949" y="1574407"/>
                </a:cubicBezTo>
                <a:close/>
                <a:moveTo>
                  <a:pt x="1414332" y="1376818"/>
                </a:moveTo>
                <a:cubicBezTo>
                  <a:pt x="1406542" y="1377964"/>
                  <a:pt x="1397988" y="1380560"/>
                  <a:pt x="1389026" y="1385447"/>
                </a:cubicBezTo>
                <a:cubicBezTo>
                  <a:pt x="1361327" y="1400107"/>
                  <a:pt x="1312446" y="1418027"/>
                  <a:pt x="1323037" y="1453049"/>
                </a:cubicBezTo>
                <a:cubicBezTo>
                  <a:pt x="1323037" y="1453049"/>
                  <a:pt x="1531595" y="1453049"/>
                  <a:pt x="1565811" y="1453864"/>
                </a:cubicBezTo>
                <a:cubicBezTo>
                  <a:pt x="1549518" y="1453049"/>
                  <a:pt x="1469679" y="1440017"/>
                  <a:pt x="1454200" y="1383003"/>
                </a:cubicBezTo>
                <a:cubicBezTo>
                  <a:pt x="1454200" y="1383003"/>
                  <a:pt x="1437703" y="1373382"/>
                  <a:pt x="1414332" y="1376818"/>
                </a:cubicBezTo>
                <a:close/>
                <a:moveTo>
                  <a:pt x="1212355" y="1366026"/>
                </a:moveTo>
                <a:cubicBezTo>
                  <a:pt x="1193910" y="1363812"/>
                  <a:pt x="1166415" y="1369157"/>
                  <a:pt x="1153584" y="1381375"/>
                </a:cubicBezTo>
                <a:cubicBezTo>
                  <a:pt x="1136476" y="1397664"/>
                  <a:pt x="1138105" y="1403365"/>
                  <a:pt x="1138920" y="1409881"/>
                </a:cubicBezTo>
                <a:cubicBezTo>
                  <a:pt x="1139735" y="1416397"/>
                  <a:pt x="1146252" y="1447348"/>
                  <a:pt x="1146252" y="1447348"/>
                </a:cubicBezTo>
                <a:cubicBezTo>
                  <a:pt x="1156028" y="1456307"/>
                  <a:pt x="1218758" y="1460380"/>
                  <a:pt x="1230979" y="1440832"/>
                </a:cubicBezTo>
                <a:cubicBezTo>
                  <a:pt x="1243199" y="1421284"/>
                  <a:pt x="1240755" y="1379745"/>
                  <a:pt x="1226905" y="1370786"/>
                </a:cubicBezTo>
                <a:cubicBezTo>
                  <a:pt x="1223646" y="1368343"/>
                  <a:pt x="1218504" y="1366765"/>
                  <a:pt x="1212355" y="1366026"/>
                </a:cubicBezTo>
                <a:close/>
                <a:moveTo>
                  <a:pt x="1557665" y="1287708"/>
                </a:moveTo>
                <a:cubicBezTo>
                  <a:pt x="1481085" y="1268160"/>
                  <a:pt x="1451756" y="1357754"/>
                  <a:pt x="1495749" y="1400922"/>
                </a:cubicBezTo>
                <a:cubicBezTo>
                  <a:pt x="1521819" y="1426985"/>
                  <a:pt x="1560923" y="1435945"/>
                  <a:pt x="1597584" y="1425357"/>
                </a:cubicBezTo>
                <a:cubicBezTo>
                  <a:pt x="1597584" y="1425357"/>
                  <a:pt x="1569070" y="1407438"/>
                  <a:pt x="1560923" y="1383003"/>
                </a:cubicBezTo>
                <a:cubicBezTo>
                  <a:pt x="1537298" y="1391148"/>
                  <a:pt x="1497378" y="1361012"/>
                  <a:pt x="1527521" y="1334134"/>
                </a:cubicBezTo>
                <a:cubicBezTo>
                  <a:pt x="1546259" y="1318659"/>
                  <a:pt x="1563367" y="1333320"/>
                  <a:pt x="1573958" y="1352867"/>
                </a:cubicBezTo>
                <a:cubicBezTo>
                  <a:pt x="1579661" y="1364270"/>
                  <a:pt x="1596769" y="1429429"/>
                  <a:pt x="1665202" y="1414768"/>
                </a:cubicBezTo>
                <a:cubicBezTo>
                  <a:pt x="1679866" y="1411510"/>
                  <a:pt x="1676608" y="1402551"/>
                  <a:pt x="1667646" y="1400922"/>
                </a:cubicBezTo>
                <a:cubicBezTo>
                  <a:pt x="1629356" y="1393592"/>
                  <a:pt x="1617951" y="1378931"/>
                  <a:pt x="1604916" y="1342279"/>
                </a:cubicBezTo>
                <a:cubicBezTo>
                  <a:pt x="1595140" y="1312958"/>
                  <a:pt x="1576402" y="1292595"/>
                  <a:pt x="1557665" y="1287708"/>
                </a:cubicBezTo>
                <a:close/>
                <a:moveTo>
                  <a:pt x="1429760" y="1232323"/>
                </a:moveTo>
                <a:cubicBezTo>
                  <a:pt x="1409393" y="1250242"/>
                  <a:pt x="1341775" y="1316215"/>
                  <a:pt x="1335257" y="1330061"/>
                </a:cubicBezTo>
                <a:cubicBezTo>
                  <a:pt x="1326296" y="1349609"/>
                  <a:pt x="1335257" y="1391963"/>
                  <a:pt x="1363771" y="1372415"/>
                </a:cubicBezTo>
                <a:cubicBezTo>
                  <a:pt x="1392285" y="1352867"/>
                  <a:pt x="1422428" y="1348795"/>
                  <a:pt x="1450942" y="1356125"/>
                </a:cubicBezTo>
                <a:cubicBezTo>
                  <a:pt x="1446868" y="1319473"/>
                  <a:pt x="1454200" y="1291781"/>
                  <a:pt x="1468865" y="1269789"/>
                </a:cubicBezTo>
                <a:cubicBezTo>
                  <a:pt x="1449312" y="1260830"/>
                  <a:pt x="1430575" y="1251056"/>
                  <a:pt x="1429760" y="1232323"/>
                </a:cubicBezTo>
                <a:close/>
                <a:moveTo>
                  <a:pt x="1116822" y="1183657"/>
                </a:moveTo>
                <a:cubicBezTo>
                  <a:pt x="1099816" y="1180603"/>
                  <a:pt x="1078227" y="1181824"/>
                  <a:pt x="1059896" y="1198928"/>
                </a:cubicBezTo>
                <a:cubicBezTo>
                  <a:pt x="1063970" y="1225807"/>
                  <a:pt x="1052564" y="1260830"/>
                  <a:pt x="1038715" y="1278749"/>
                </a:cubicBezTo>
                <a:cubicBezTo>
                  <a:pt x="1038715" y="1278749"/>
                  <a:pt x="980058" y="1261644"/>
                  <a:pt x="949100" y="1226621"/>
                </a:cubicBezTo>
                <a:cubicBezTo>
                  <a:pt x="949100" y="1226621"/>
                  <a:pt x="918957" y="1297482"/>
                  <a:pt x="1018348" y="1318659"/>
                </a:cubicBezTo>
                <a:cubicBezTo>
                  <a:pt x="1018348" y="1318659"/>
                  <a:pt x="1038715" y="1390333"/>
                  <a:pt x="1113665" y="1392777"/>
                </a:cubicBezTo>
                <a:cubicBezTo>
                  <a:pt x="1113665" y="1392777"/>
                  <a:pt x="1125885" y="1368342"/>
                  <a:pt x="1132403" y="1361012"/>
                </a:cubicBezTo>
                <a:cubicBezTo>
                  <a:pt x="1145437" y="1347980"/>
                  <a:pt x="1182913" y="1337392"/>
                  <a:pt x="1215500" y="1339836"/>
                </a:cubicBezTo>
                <a:cubicBezTo>
                  <a:pt x="1215500" y="1339836"/>
                  <a:pt x="1185357" y="1274676"/>
                  <a:pt x="1159287" y="1255943"/>
                </a:cubicBezTo>
                <a:cubicBezTo>
                  <a:pt x="1159287" y="1255943"/>
                  <a:pt x="1157658" y="1207073"/>
                  <a:pt x="1146252" y="1194042"/>
                </a:cubicBezTo>
                <a:cubicBezTo>
                  <a:pt x="1146252" y="1194042"/>
                  <a:pt x="1133828" y="1186712"/>
                  <a:pt x="1116822" y="1183657"/>
                </a:cubicBezTo>
                <a:close/>
                <a:moveTo>
                  <a:pt x="1503896" y="1177752"/>
                </a:moveTo>
                <a:cubicBezTo>
                  <a:pt x="1465606" y="1182639"/>
                  <a:pt x="1446054" y="1202187"/>
                  <a:pt x="1451756" y="1222549"/>
                </a:cubicBezTo>
                <a:cubicBezTo>
                  <a:pt x="1458274" y="1243725"/>
                  <a:pt x="1479455" y="1246984"/>
                  <a:pt x="1479455" y="1246984"/>
                </a:cubicBezTo>
                <a:cubicBezTo>
                  <a:pt x="1492490" y="1224178"/>
                  <a:pt x="1523448" y="1190784"/>
                  <a:pt x="1568255" y="1197300"/>
                </a:cubicBezTo>
                <a:cubicBezTo>
                  <a:pt x="1568255" y="1197300"/>
                  <a:pt x="1549518" y="1172050"/>
                  <a:pt x="1503896" y="1177752"/>
                </a:cubicBezTo>
                <a:close/>
                <a:moveTo>
                  <a:pt x="1231488" y="1174493"/>
                </a:moveTo>
                <a:cubicBezTo>
                  <a:pt x="1227516" y="1172457"/>
                  <a:pt x="1220388" y="1175308"/>
                  <a:pt x="1215500" y="1178566"/>
                </a:cubicBezTo>
                <a:cubicBezTo>
                  <a:pt x="1205724" y="1185083"/>
                  <a:pt x="1182098" y="1198114"/>
                  <a:pt x="1168248" y="1195671"/>
                </a:cubicBezTo>
                <a:cubicBezTo>
                  <a:pt x="1175581" y="1221734"/>
                  <a:pt x="1178025" y="1231507"/>
                  <a:pt x="1178025" y="1242097"/>
                </a:cubicBezTo>
                <a:cubicBezTo>
                  <a:pt x="1178025" y="1242097"/>
                  <a:pt x="1213056" y="1232323"/>
                  <a:pt x="1228535" y="1199744"/>
                </a:cubicBezTo>
                <a:cubicBezTo>
                  <a:pt x="1236274" y="1183453"/>
                  <a:pt x="1235459" y="1176530"/>
                  <a:pt x="1231488" y="1174493"/>
                </a:cubicBezTo>
                <a:close/>
                <a:moveTo>
                  <a:pt x="948858" y="1162429"/>
                </a:moveTo>
                <a:cubicBezTo>
                  <a:pt x="934996" y="1160291"/>
                  <a:pt x="946452" y="1184267"/>
                  <a:pt x="962950" y="1201372"/>
                </a:cubicBezTo>
                <a:cubicBezTo>
                  <a:pt x="984131" y="1224992"/>
                  <a:pt x="1007757" y="1240467"/>
                  <a:pt x="1028124" y="1243725"/>
                </a:cubicBezTo>
                <a:cubicBezTo>
                  <a:pt x="1036271" y="1235580"/>
                  <a:pt x="1038715" y="1211960"/>
                  <a:pt x="1037085" y="1200558"/>
                </a:cubicBezTo>
                <a:cubicBezTo>
                  <a:pt x="1037085" y="1200558"/>
                  <a:pt x="1015089" y="1205445"/>
                  <a:pt x="971911" y="1174494"/>
                </a:cubicBezTo>
                <a:cubicBezTo>
                  <a:pt x="960913" y="1166757"/>
                  <a:pt x="953479" y="1163142"/>
                  <a:pt x="948858" y="1162429"/>
                </a:cubicBezTo>
                <a:close/>
                <a:moveTo>
                  <a:pt x="873335" y="1132955"/>
                </a:moveTo>
                <a:lnTo>
                  <a:pt x="1286377" y="1132955"/>
                </a:lnTo>
                <a:lnTo>
                  <a:pt x="1291265" y="1132955"/>
                </a:lnTo>
                <a:lnTo>
                  <a:pt x="1704307" y="1132955"/>
                </a:lnTo>
                <a:lnTo>
                  <a:pt x="1704307" y="1212775"/>
                </a:lnTo>
                <a:cubicBezTo>
                  <a:pt x="1692086" y="1237210"/>
                  <a:pt x="1683940" y="1264088"/>
                  <a:pt x="1682310" y="1292595"/>
                </a:cubicBezTo>
                <a:cubicBezTo>
                  <a:pt x="1677422" y="1275491"/>
                  <a:pt x="1669275" y="1259201"/>
                  <a:pt x="1657870" y="1247798"/>
                </a:cubicBezTo>
                <a:cubicBezTo>
                  <a:pt x="1617136" y="1205445"/>
                  <a:pt x="1548703" y="1203815"/>
                  <a:pt x="1506340" y="1244540"/>
                </a:cubicBezTo>
                <a:cubicBezTo>
                  <a:pt x="1492490" y="1258386"/>
                  <a:pt x="1482714" y="1276305"/>
                  <a:pt x="1477826" y="1294224"/>
                </a:cubicBezTo>
                <a:cubicBezTo>
                  <a:pt x="1480270" y="1290152"/>
                  <a:pt x="1485158" y="1284450"/>
                  <a:pt x="1488417" y="1281192"/>
                </a:cubicBezTo>
                <a:cubicBezTo>
                  <a:pt x="1519375" y="1251870"/>
                  <a:pt x="1574773" y="1254314"/>
                  <a:pt x="1609804" y="1288522"/>
                </a:cubicBezTo>
                <a:cubicBezTo>
                  <a:pt x="1628541" y="1306441"/>
                  <a:pt x="1630986" y="1331691"/>
                  <a:pt x="1640762" y="1354496"/>
                </a:cubicBezTo>
                <a:cubicBezTo>
                  <a:pt x="1648094" y="1372415"/>
                  <a:pt x="1657870" y="1380560"/>
                  <a:pt x="1660314" y="1382189"/>
                </a:cubicBezTo>
                <a:cubicBezTo>
                  <a:pt x="1673349" y="1370786"/>
                  <a:pt x="1680681" y="1356125"/>
                  <a:pt x="1683940" y="1339836"/>
                </a:cubicBezTo>
                <a:cubicBezTo>
                  <a:pt x="1686384" y="1365084"/>
                  <a:pt x="1692086" y="1398478"/>
                  <a:pt x="1704307" y="1434316"/>
                </a:cubicBezTo>
                <a:lnTo>
                  <a:pt x="1705121" y="1434316"/>
                </a:lnTo>
                <a:lnTo>
                  <a:pt x="1705121" y="1495403"/>
                </a:lnTo>
                <a:lnTo>
                  <a:pt x="961320" y="1495403"/>
                </a:lnTo>
                <a:cubicBezTo>
                  <a:pt x="960506" y="1483185"/>
                  <a:pt x="959691" y="1470968"/>
                  <a:pt x="958876" y="1457936"/>
                </a:cubicBezTo>
                <a:cubicBezTo>
                  <a:pt x="970282" y="1462009"/>
                  <a:pt x="998795" y="1467710"/>
                  <a:pt x="1022421" y="1446533"/>
                </a:cubicBezTo>
                <a:cubicBezTo>
                  <a:pt x="1022421" y="1446533"/>
                  <a:pt x="1080263" y="1470154"/>
                  <a:pt x="1123441" y="1444904"/>
                </a:cubicBezTo>
                <a:lnTo>
                  <a:pt x="1116924" y="1418841"/>
                </a:lnTo>
                <a:cubicBezTo>
                  <a:pt x="1116924" y="1418841"/>
                  <a:pt x="1025680" y="1418027"/>
                  <a:pt x="999610" y="1337392"/>
                </a:cubicBezTo>
                <a:cubicBezTo>
                  <a:pt x="999610" y="1337392"/>
                  <a:pt x="969467" y="1334948"/>
                  <a:pt x="952359" y="1315401"/>
                </a:cubicBezTo>
                <a:lnTo>
                  <a:pt x="953173" y="1419655"/>
                </a:lnTo>
                <a:cubicBezTo>
                  <a:pt x="937695" y="1384632"/>
                  <a:pt x="899405" y="1361826"/>
                  <a:pt x="899405" y="1361826"/>
                </a:cubicBezTo>
                <a:cubicBezTo>
                  <a:pt x="899405" y="1361826"/>
                  <a:pt x="888814" y="1352053"/>
                  <a:pt x="873335" y="1336577"/>
                </a:cubicBezTo>
                <a:close/>
                <a:moveTo>
                  <a:pt x="829342" y="1132139"/>
                </a:moveTo>
                <a:lnTo>
                  <a:pt x="830157" y="1220918"/>
                </a:lnTo>
                <a:cubicBezTo>
                  <a:pt x="818751" y="1231507"/>
                  <a:pt x="805717" y="1246168"/>
                  <a:pt x="791867" y="1264901"/>
                </a:cubicBezTo>
                <a:cubicBezTo>
                  <a:pt x="785350" y="1273860"/>
                  <a:pt x="780462" y="1281190"/>
                  <a:pt x="775574" y="1286892"/>
                </a:cubicBezTo>
                <a:cubicBezTo>
                  <a:pt x="774759" y="1285263"/>
                  <a:pt x="773944" y="1284448"/>
                  <a:pt x="773944" y="1284448"/>
                </a:cubicBezTo>
                <a:cubicBezTo>
                  <a:pt x="775574" y="1259199"/>
                  <a:pt x="774759" y="1232321"/>
                  <a:pt x="754392" y="1210330"/>
                </a:cubicBezTo>
                <a:cubicBezTo>
                  <a:pt x="743801" y="1199742"/>
                  <a:pt x="732396" y="1189968"/>
                  <a:pt x="720990" y="1181008"/>
                </a:cubicBezTo>
                <a:lnTo>
                  <a:pt x="747060" y="1168791"/>
                </a:lnTo>
                <a:cubicBezTo>
                  <a:pt x="747060" y="1168791"/>
                  <a:pt x="801643" y="1150058"/>
                  <a:pt x="810605" y="1141913"/>
                </a:cubicBezTo>
                <a:cubicBezTo>
                  <a:pt x="813863" y="1137840"/>
                  <a:pt x="820381" y="1137026"/>
                  <a:pt x="829342" y="1132139"/>
                </a:cubicBezTo>
                <a:close/>
                <a:moveTo>
                  <a:pt x="366605" y="1108519"/>
                </a:moveTo>
                <a:cubicBezTo>
                  <a:pt x="391860" y="1136212"/>
                  <a:pt x="439112" y="1156574"/>
                  <a:pt x="527097" y="1132139"/>
                </a:cubicBezTo>
                <a:cubicBezTo>
                  <a:pt x="549908" y="1125623"/>
                  <a:pt x="545835" y="1120736"/>
                  <a:pt x="559684" y="1116664"/>
                </a:cubicBezTo>
                <a:cubicBezTo>
                  <a:pt x="567831" y="1121551"/>
                  <a:pt x="599603" y="1147614"/>
                  <a:pt x="619970" y="1159832"/>
                </a:cubicBezTo>
                <a:cubicBezTo>
                  <a:pt x="643596" y="1174492"/>
                  <a:pt x="685959" y="1194855"/>
                  <a:pt x="719361" y="1230692"/>
                </a:cubicBezTo>
                <a:cubicBezTo>
                  <a:pt x="738913" y="1251055"/>
                  <a:pt x="738913" y="1276304"/>
                  <a:pt x="737284" y="1299924"/>
                </a:cubicBezTo>
                <a:cubicBezTo>
                  <a:pt x="766612" y="1345535"/>
                  <a:pt x="814678" y="1378115"/>
                  <a:pt x="827713" y="1385445"/>
                </a:cubicBezTo>
                <a:cubicBezTo>
                  <a:pt x="840748" y="1392776"/>
                  <a:pt x="901034" y="1415581"/>
                  <a:pt x="912440" y="1449790"/>
                </a:cubicBezTo>
                <a:cubicBezTo>
                  <a:pt x="926289" y="1601285"/>
                  <a:pt x="921401" y="1680290"/>
                  <a:pt x="895331" y="1712055"/>
                </a:cubicBezTo>
                <a:cubicBezTo>
                  <a:pt x="859486" y="1756038"/>
                  <a:pt x="848080" y="1782102"/>
                  <a:pt x="848080" y="1782102"/>
                </a:cubicBezTo>
                <a:cubicBezTo>
                  <a:pt x="786979" y="1718571"/>
                  <a:pt x="847265" y="1645267"/>
                  <a:pt x="847265" y="1645267"/>
                </a:cubicBezTo>
                <a:cubicBezTo>
                  <a:pt x="842377" y="1639566"/>
                  <a:pt x="834231" y="1630606"/>
                  <a:pt x="834231" y="1630606"/>
                </a:cubicBezTo>
                <a:cubicBezTo>
                  <a:pt x="834231" y="1630606"/>
                  <a:pt x="843192" y="1606172"/>
                  <a:pt x="850524" y="1564633"/>
                </a:cubicBezTo>
                <a:cubicBezTo>
                  <a:pt x="865188" y="1482370"/>
                  <a:pt x="822825" y="1455491"/>
                  <a:pt x="790238" y="1450605"/>
                </a:cubicBezTo>
                <a:cubicBezTo>
                  <a:pt x="713658" y="1439201"/>
                  <a:pt x="707956" y="1407436"/>
                  <a:pt x="707956" y="1407436"/>
                </a:cubicBezTo>
                <a:cubicBezTo>
                  <a:pt x="680256" y="1493772"/>
                  <a:pt x="515691" y="1663186"/>
                  <a:pt x="515691" y="1663186"/>
                </a:cubicBezTo>
                <a:cubicBezTo>
                  <a:pt x="533614" y="1835858"/>
                  <a:pt x="362532" y="1943371"/>
                  <a:pt x="362532" y="1943371"/>
                </a:cubicBezTo>
                <a:cubicBezTo>
                  <a:pt x="348682" y="1978394"/>
                  <a:pt x="357644" y="2100567"/>
                  <a:pt x="357644" y="2100567"/>
                </a:cubicBezTo>
                <a:cubicBezTo>
                  <a:pt x="421189" y="2133961"/>
                  <a:pt x="445629" y="2238216"/>
                  <a:pt x="445629" y="2238216"/>
                </a:cubicBezTo>
                <a:lnTo>
                  <a:pt x="338906" y="2238216"/>
                </a:lnTo>
                <a:cubicBezTo>
                  <a:pt x="341350" y="2173871"/>
                  <a:pt x="316910" y="2163283"/>
                  <a:pt x="316910" y="2163283"/>
                </a:cubicBezTo>
                <a:lnTo>
                  <a:pt x="297358" y="2159210"/>
                </a:lnTo>
                <a:cubicBezTo>
                  <a:pt x="306319" y="2118486"/>
                  <a:pt x="280250" y="1964547"/>
                  <a:pt x="280250" y="1964547"/>
                </a:cubicBezTo>
                <a:cubicBezTo>
                  <a:pt x="303875" y="1950701"/>
                  <a:pt x="308763" y="1917307"/>
                  <a:pt x="308763" y="1917307"/>
                </a:cubicBezTo>
                <a:cubicBezTo>
                  <a:pt x="301431" y="1895316"/>
                  <a:pt x="329945" y="1838301"/>
                  <a:pt x="330760" y="1830971"/>
                </a:cubicBezTo>
                <a:cubicBezTo>
                  <a:pt x="332389" y="1823641"/>
                  <a:pt x="333204" y="1806536"/>
                  <a:pt x="328316" y="1787803"/>
                </a:cubicBezTo>
                <a:cubicBezTo>
                  <a:pt x="323428" y="1769070"/>
                  <a:pt x="325057" y="1739748"/>
                  <a:pt x="325057" y="1739748"/>
                </a:cubicBezTo>
                <a:cubicBezTo>
                  <a:pt x="298987" y="1755223"/>
                  <a:pt x="241145" y="1747079"/>
                  <a:pt x="241145" y="1747079"/>
                </a:cubicBezTo>
                <a:cubicBezTo>
                  <a:pt x="241145" y="1747079"/>
                  <a:pt x="272103" y="1729974"/>
                  <a:pt x="289211" y="1677032"/>
                </a:cubicBezTo>
                <a:cubicBezTo>
                  <a:pt x="306319" y="1624091"/>
                  <a:pt x="344609" y="1559746"/>
                  <a:pt x="364161" y="1530424"/>
                </a:cubicBezTo>
                <a:cubicBezTo>
                  <a:pt x="383714" y="1501103"/>
                  <a:pt x="441556" y="1418839"/>
                  <a:pt x="441556" y="1356938"/>
                </a:cubicBezTo>
                <a:cubicBezTo>
                  <a:pt x="441556" y="1297480"/>
                  <a:pt x="386972" y="1217661"/>
                  <a:pt x="376382" y="1189968"/>
                </a:cubicBezTo>
                <a:cubicBezTo>
                  <a:pt x="366605" y="1164719"/>
                  <a:pt x="365791" y="1113406"/>
                  <a:pt x="366605" y="1108519"/>
                </a:cubicBezTo>
                <a:close/>
                <a:moveTo>
                  <a:pt x="458969" y="905000"/>
                </a:moveTo>
                <a:cubicBezTo>
                  <a:pt x="485752" y="908360"/>
                  <a:pt x="511618" y="917523"/>
                  <a:pt x="526282" y="926890"/>
                </a:cubicBezTo>
                <a:cubicBezTo>
                  <a:pt x="566201" y="952139"/>
                  <a:pt x="659889" y="1005895"/>
                  <a:pt x="659889" y="1005895"/>
                </a:cubicBezTo>
                <a:cubicBezTo>
                  <a:pt x="665592" y="1080828"/>
                  <a:pt x="619155" y="1068611"/>
                  <a:pt x="585753" y="1068611"/>
                </a:cubicBezTo>
                <a:cubicBezTo>
                  <a:pt x="552351" y="1068611"/>
                  <a:pt x="556425" y="1070240"/>
                  <a:pt x="497768" y="1086530"/>
                </a:cubicBezTo>
                <a:cubicBezTo>
                  <a:pt x="378010" y="1119924"/>
                  <a:pt x="373122" y="1026258"/>
                  <a:pt x="373122" y="1026258"/>
                </a:cubicBezTo>
                <a:cubicBezTo>
                  <a:pt x="289210" y="1031144"/>
                  <a:pt x="290840" y="994493"/>
                  <a:pt x="281063" y="979832"/>
                </a:cubicBezTo>
                <a:cubicBezTo>
                  <a:pt x="256623" y="979832"/>
                  <a:pt x="230553" y="956211"/>
                  <a:pt x="219148" y="930962"/>
                </a:cubicBezTo>
                <a:cubicBezTo>
                  <a:pt x="219148" y="930962"/>
                  <a:pt x="224036" y="942365"/>
                  <a:pt x="314465" y="917929"/>
                </a:cubicBezTo>
                <a:cubicBezTo>
                  <a:pt x="339720" y="910600"/>
                  <a:pt x="369049" y="900826"/>
                  <a:pt x="386157" y="917929"/>
                </a:cubicBezTo>
                <a:cubicBezTo>
                  <a:pt x="404487" y="904084"/>
                  <a:pt x="432186" y="901640"/>
                  <a:pt x="458969" y="905000"/>
                </a:cubicBezTo>
                <a:close/>
                <a:moveTo>
                  <a:pt x="2003729" y="853271"/>
                </a:moveTo>
                <a:cubicBezTo>
                  <a:pt x="2061823" y="846025"/>
                  <a:pt x="2119996" y="892986"/>
                  <a:pt x="2118977" y="954581"/>
                </a:cubicBezTo>
                <a:cubicBezTo>
                  <a:pt x="2118163" y="1012410"/>
                  <a:pt x="2069282" y="1064538"/>
                  <a:pt x="1967447" y="1117480"/>
                </a:cubicBezTo>
                <a:cubicBezTo>
                  <a:pt x="1865613" y="1170421"/>
                  <a:pt x="1883536" y="1252685"/>
                  <a:pt x="1883536" y="1252685"/>
                </a:cubicBezTo>
                <a:cubicBezTo>
                  <a:pt x="2243623" y="1338206"/>
                  <a:pt x="2386192" y="1830157"/>
                  <a:pt x="2387821" y="1830157"/>
                </a:cubicBezTo>
                <a:cubicBezTo>
                  <a:pt x="2312056" y="1754409"/>
                  <a:pt x="2203704" y="1725088"/>
                  <a:pt x="2158082" y="1716943"/>
                </a:cubicBezTo>
                <a:cubicBezTo>
                  <a:pt x="1776813" y="1645268"/>
                  <a:pt x="1736894" y="1404994"/>
                  <a:pt x="1732005" y="1321102"/>
                </a:cubicBezTo>
                <a:cubicBezTo>
                  <a:pt x="1722229" y="1163091"/>
                  <a:pt x="1950339" y="1056393"/>
                  <a:pt x="1961745" y="1049877"/>
                </a:cubicBezTo>
                <a:cubicBezTo>
                  <a:pt x="1973150" y="1043361"/>
                  <a:pt x="1992702" y="1033587"/>
                  <a:pt x="1992702" y="1017297"/>
                </a:cubicBezTo>
                <a:cubicBezTo>
                  <a:pt x="1992702" y="975757"/>
                  <a:pt x="1944636" y="983089"/>
                  <a:pt x="1944636" y="983089"/>
                </a:cubicBezTo>
                <a:cubicBezTo>
                  <a:pt x="1944636" y="983089"/>
                  <a:pt x="1759704" y="1000193"/>
                  <a:pt x="1747484" y="999379"/>
                </a:cubicBezTo>
                <a:cubicBezTo>
                  <a:pt x="1734449" y="999379"/>
                  <a:pt x="1740967" y="992862"/>
                  <a:pt x="1747484" y="989605"/>
                </a:cubicBezTo>
                <a:cubicBezTo>
                  <a:pt x="1754002" y="986346"/>
                  <a:pt x="1912049" y="933405"/>
                  <a:pt x="1912049" y="933405"/>
                </a:cubicBezTo>
                <a:cubicBezTo>
                  <a:pt x="1934045" y="881481"/>
                  <a:pt x="1968873" y="857619"/>
                  <a:pt x="2003729" y="853271"/>
                </a:cubicBezTo>
                <a:close/>
                <a:moveTo>
                  <a:pt x="1204095" y="842182"/>
                </a:moveTo>
                <a:cubicBezTo>
                  <a:pt x="1189430" y="842182"/>
                  <a:pt x="1177210" y="853585"/>
                  <a:pt x="1176395" y="868246"/>
                </a:cubicBezTo>
                <a:cubicBezTo>
                  <a:pt x="1176395" y="876391"/>
                  <a:pt x="1179654" y="883721"/>
                  <a:pt x="1185357" y="888608"/>
                </a:cubicBezTo>
                <a:cubicBezTo>
                  <a:pt x="1185357" y="894309"/>
                  <a:pt x="1184542" y="900011"/>
                  <a:pt x="1184542" y="907341"/>
                </a:cubicBezTo>
                <a:cubicBezTo>
                  <a:pt x="1182913" y="908156"/>
                  <a:pt x="1182098" y="908156"/>
                  <a:pt x="1180469" y="908156"/>
                </a:cubicBezTo>
                <a:cubicBezTo>
                  <a:pt x="1176395" y="904083"/>
                  <a:pt x="1170693" y="902454"/>
                  <a:pt x="1164990" y="902454"/>
                </a:cubicBezTo>
                <a:cubicBezTo>
                  <a:pt x="1150326" y="902454"/>
                  <a:pt x="1138106" y="913857"/>
                  <a:pt x="1137291" y="928518"/>
                </a:cubicBezTo>
                <a:cubicBezTo>
                  <a:pt x="1136476" y="935848"/>
                  <a:pt x="1138920" y="942364"/>
                  <a:pt x="1143808" y="947251"/>
                </a:cubicBezTo>
                <a:cubicBezTo>
                  <a:pt x="1148696" y="952138"/>
                  <a:pt x="1154399" y="954581"/>
                  <a:pt x="1161731" y="954581"/>
                </a:cubicBezTo>
                <a:cubicBezTo>
                  <a:pt x="1169878" y="954581"/>
                  <a:pt x="1178025" y="950509"/>
                  <a:pt x="1182913" y="943993"/>
                </a:cubicBezTo>
                <a:cubicBezTo>
                  <a:pt x="1182098" y="954581"/>
                  <a:pt x="1181283" y="965170"/>
                  <a:pt x="1181283" y="970871"/>
                </a:cubicBezTo>
                <a:cubicBezTo>
                  <a:pt x="1174766" y="976573"/>
                  <a:pt x="1171507" y="983089"/>
                  <a:pt x="1170693" y="991233"/>
                </a:cubicBezTo>
                <a:cubicBezTo>
                  <a:pt x="1169878" y="998564"/>
                  <a:pt x="1172322" y="1005080"/>
                  <a:pt x="1177210" y="1009967"/>
                </a:cubicBezTo>
                <a:cubicBezTo>
                  <a:pt x="1182098" y="1014854"/>
                  <a:pt x="1187801" y="1017297"/>
                  <a:pt x="1195133" y="1017297"/>
                </a:cubicBezTo>
                <a:cubicBezTo>
                  <a:pt x="1202465" y="1017297"/>
                  <a:pt x="1208982" y="1014039"/>
                  <a:pt x="1213056" y="1009967"/>
                </a:cubicBezTo>
                <a:cubicBezTo>
                  <a:pt x="1218759" y="1005080"/>
                  <a:pt x="1221203" y="998564"/>
                  <a:pt x="1222017" y="991233"/>
                </a:cubicBezTo>
                <a:cubicBezTo>
                  <a:pt x="1222832" y="983089"/>
                  <a:pt x="1219573" y="976573"/>
                  <a:pt x="1214685" y="971686"/>
                </a:cubicBezTo>
                <a:cubicBezTo>
                  <a:pt x="1214685" y="965170"/>
                  <a:pt x="1215500" y="948066"/>
                  <a:pt x="1216315" y="938292"/>
                </a:cubicBezTo>
                <a:cubicBezTo>
                  <a:pt x="1218759" y="937477"/>
                  <a:pt x="1218759" y="937477"/>
                  <a:pt x="1220388" y="937477"/>
                </a:cubicBezTo>
                <a:cubicBezTo>
                  <a:pt x="1224461" y="942364"/>
                  <a:pt x="1230979" y="944808"/>
                  <a:pt x="1237496" y="944808"/>
                </a:cubicBezTo>
                <a:cubicBezTo>
                  <a:pt x="1244014" y="944808"/>
                  <a:pt x="1251346" y="942364"/>
                  <a:pt x="1256234" y="937477"/>
                </a:cubicBezTo>
                <a:cubicBezTo>
                  <a:pt x="1261936" y="932590"/>
                  <a:pt x="1264381" y="926074"/>
                  <a:pt x="1265195" y="918744"/>
                </a:cubicBezTo>
                <a:cubicBezTo>
                  <a:pt x="1266010" y="911414"/>
                  <a:pt x="1263566" y="904898"/>
                  <a:pt x="1258678" y="900011"/>
                </a:cubicBezTo>
                <a:cubicBezTo>
                  <a:pt x="1253790" y="895124"/>
                  <a:pt x="1247272" y="892680"/>
                  <a:pt x="1240755" y="892680"/>
                </a:cubicBezTo>
                <a:cubicBezTo>
                  <a:pt x="1232608" y="892680"/>
                  <a:pt x="1224461" y="895938"/>
                  <a:pt x="1219573" y="902454"/>
                </a:cubicBezTo>
                <a:cubicBezTo>
                  <a:pt x="1219573" y="902454"/>
                  <a:pt x="1217944" y="902454"/>
                  <a:pt x="1217944" y="902454"/>
                </a:cubicBezTo>
                <a:cubicBezTo>
                  <a:pt x="1217944" y="895124"/>
                  <a:pt x="1218759" y="891051"/>
                  <a:pt x="1218759" y="886979"/>
                </a:cubicBezTo>
                <a:cubicBezTo>
                  <a:pt x="1224461" y="882092"/>
                  <a:pt x="1227720" y="875576"/>
                  <a:pt x="1228535" y="868246"/>
                </a:cubicBezTo>
                <a:cubicBezTo>
                  <a:pt x="1229349" y="853585"/>
                  <a:pt x="1218759" y="842182"/>
                  <a:pt x="1204095" y="842182"/>
                </a:cubicBezTo>
                <a:close/>
                <a:moveTo>
                  <a:pt x="1371918" y="841367"/>
                </a:moveTo>
                <a:cubicBezTo>
                  <a:pt x="1357254" y="841367"/>
                  <a:pt x="1346663" y="852770"/>
                  <a:pt x="1347478" y="867431"/>
                </a:cubicBezTo>
                <a:cubicBezTo>
                  <a:pt x="1348292" y="874762"/>
                  <a:pt x="1351551" y="881277"/>
                  <a:pt x="1357254" y="886164"/>
                </a:cubicBezTo>
                <a:cubicBezTo>
                  <a:pt x="1357254" y="890237"/>
                  <a:pt x="1358069" y="894309"/>
                  <a:pt x="1358069" y="901640"/>
                </a:cubicBezTo>
                <a:cubicBezTo>
                  <a:pt x="1358069" y="901640"/>
                  <a:pt x="1356439" y="901640"/>
                  <a:pt x="1356439" y="901640"/>
                </a:cubicBezTo>
                <a:cubicBezTo>
                  <a:pt x="1350737" y="895938"/>
                  <a:pt x="1343404" y="891866"/>
                  <a:pt x="1335258" y="891866"/>
                </a:cubicBezTo>
                <a:cubicBezTo>
                  <a:pt x="1327925" y="891866"/>
                  <a:pt x="1322223" y="894309"/>
                  <a:pt x="1317335" y="899196"/>
                </a:cubicBezTo>
                <a:cubicBezTo>
                  <a:pt x="1312447" y="904083"/>
                  <a:pt x="1310003" y="910599"/>
                  <a:pt x="1310817" y="916301"/>
                </a:cubicBezTo>
                <a:cubicBezTo>
                  <a:pt x="1311632" y="923631"/>
                  <a:pt x="1314891" y="930147"/>
                  <a:pt x="1319779" y="935034"/>
                </a:cubicBezTo>
                <a:cubicBezTo>
                  <a:pt x="1324667" y="939921"/>
                  <a:pt x="1331184" y="942364"/>
                  <a:pt x="1338516" y="942364"/>
                </a:cubicBezTo>
                <a:cubicBezTo>
                  <a:pt x="1345034" y="942364"/>
                  <a:pt x="1351551" y="939921"/>
                  <a:pt x="1355624" y="935034"/>
                </a:cubicBezTo>
                <a:cubicBezTo>
                  <a:pt x="1357254" y="935848"/>
                  <a:pt x="1358069" y="935848"/>
                  <a:pt x="1359698" y="935848"/>
                </a:cubicBezTo>
                <a:cubicBezTo>
                  <a:pt x="1360513" y="946437"/>
                  <a:pt x="1361327" y="962726"/>
                  <a:pt x="1361327" y="969242"/>
                </a:cubicBezTo>
                <a:cubicBezTo>
                  <a:pt x="1356439" y="974129"/>
                  <a:pt x="1353181" y="981460"/>
                  <a:pt x="1353995" y="988790"/>
                </a:cubicBezTo>
                <a:cubicBezTo>
                  <a:pt x="1354810" y="996120"/>
                  <a:pt x="1358069" y="1002636"/>
                  <a:pt x="1362957" y="1007523"/>
                </a:cubicBezTo>
                <a:cubicBezTo>
                  <a:pt x="1367845" y="1013225"/>
                  <a:pt x="1374362" y="1015668"/>
                  <a:pt x="1381694" y="1015668"/>
                </a:cubicBezTo>
                <a:cubicBezTo>
                  <a:pt x="1388212" y="1015668"/>
                  <a:pt x="1394729" y="1013225"/>
                  <a:pt x="1399617" y="1008338"/>
                </a:cubicBezTo>
                <a:cubicBezTo>
                  <a:pt x="1404505" y="1003451"/>
                  <a:pt x="1406135" y="996935"/>
                  <a:pt x="1406135" y="989605"/>
                </a:cubicBezTo>
                <a:cubicBezTo>
                  <a:pt x="1405320" y="981460"/>
                  <a:pt x="1401246" y="974129"/>
                  <a:pt x="1395544" y="969242"/>
                </a:cubicBezTo>
                <a:cubicBezTo>
                  <a:pt x="1394729" y="964355"/>
                  <a:pt x="1394729" y="953767"/>
                  <a:pt x="1393914" y="942364"/>
                </a:cubicBezTo>
                <a:cubicBezTo>
                  <a:pt x="1398803" y="948880"/>
                  <a:pt x="1406949" y="952953"/>
                  <a:pt x="1415096" y="952953"/>
                </a:cubicBezTo>
                <a:cubicBezTo>
                  <a:pt x="1422428" y="952953"/>
                  <a:pt x="1428131" y="950509"/>
                  <a:pt x="1433019" y="945622"/>
                </a:cubicBezTo>
                <a:cubicBezTo>
                  <a:pt x="1437907" y="940735"/>
                  <a:pt x="1440351" y="934219"/>
                  <a:pt x="1439536" y="926889"/>
                </a:cubicBezTo>
                <a:cubicBezTo>
                  <a:pt x="1438722" y="913043"/>
                  <a:pt x="1426502" y="900825"/>
                  <a:pt x="1411837" y="900825"/>
                </a:cubicBezTo>
                <a:cubicBezTo>
                  <a:pt x="1406135" y="900825"/>
                  <a:pt x="1400432" y="902454"/>
                  <a:pt x="1396358" y="906527"/>
                </a:cubicBezTo>
                <a:cubicBezTo>
                  <a:pt x="1394729" y="906527"/>
                  <a:pt x="1394729" y="906527"/>
                  <a:pt x="1392285" y="905712"/>
                </a:cubicBezTo>
                <a:cubicBezTo>
                  <a:pt x="1392285" y="899196"/>
                  <a:pt x="1391470" y="892680"/>
                  <a:pt x="1391470" y="887793"/>
                </a:cubicBezTo>
                <a:cubicBezTo>
                  <a:pt x="1396358" y="882906"/>
                  <a:pt x="1400432" y="875576"/>
                  <a:pt x="1399617" y="867431"/>
                </a:cubicBezTo>
                <a:cubicBezTo>
                  <a:pt x="1398803" y="852770"/>
                  <a:pt x="1386582" y="841367"/>
                  <a:pt x="1371918" y="841367"/>
                </a:cubicBezTo>
                <a:close/>
                <a:moveTo>
                  <a:pt x="1349616" y="762056"/>
                </a:moveTo>
                <a:cubicBezTo>
                  <a:pt x="1378232" y="758086"/>
                  <a:pt x="1412245" y="766841"/>
                  <a:pt x="1442795" y="781095"/>
                </a:cubicBezTo>
                <a:cubicBezTo>
                  <a:pt x="1452571" y="871504"/>
                  <a:pt x="1466421" y="978202"/>
                  <a:pt x="1474567" y="1035216"/>
                </a:cubicBezTo>
                <a:cubicBezTo>
                  <a:pt x="1456645" y="1037659"/>
                  <a:pt x="1437092" y="1046619"/>
                  <a:pt x="1418355" y="1059651"/>
                </a:cubicBezTo>
                <a:cubicBezTo>
                  <a:pt x="1371918" y="1092230"/>
                  <a:pt x="1318149" y="1094674"/>
                  <a:pt x="1288821" y="1036845"/>
                </a:cubicBezTo>
                <a:cubicBezTo>
                  <a:pt x="1260307" y="1094674"/>
                  <a:pt x="1206538" y="1093045"/>
                  <a:pt x="1160102" y="1061280"/>
                </a:cubicBezTo>
                <a:cubicBezTo>
                  <a:pt x="1141364" y="1048248"/>
                  <a:pt x="1121812" y="1040103"/>
                  <a:pt x="1103889" y="1036845"/>
                </a:cubicBezTo>
                <a:cubicBezTo>
                  <a:pt x="1111221" y="979831"/>
                  <a:pt x="1125071" y="873132"/>
                  <a:pt x="1134032" y="782724"/>
                </a:cubicBezTo>
                <a:cubicBezTo>
                  <a:pt x="1195133" y="753403"/>
                  <a:pt x="1270083" y="746887"/>
                  <a:pt x="1288821" y="819376"/>
                </a:cubicBezTo>
                <a:cubicBezTo>
                  <a:pt x="1297783" y="782724"/>
                  <a:pt x="1321001" y="766027"/>
                  <a:pt x="1349616" y="762056"/>
                </a:cubicBezTo>
                <a:close/>
                <a:moveTo>
                  <a:pt x="1391470" y="601093"/>
                </a:moveTo>
                <a:cubicBezTo>
                  <a:pt x="1375991" y="601093"/>
                  <a:pt x="1363771" y="613309"/>
                  <a:pt x="1363771" y="628786"/>
                </a:cubicBezTo>
                <a:cubicBezTo>
                  <a:pt x="1363771" y="644260"/>
                  <a:pt x="1375991" y="656477"/>
                  <a:pt x="1391470" y="656477"/>
                </a:cubicBezTo>
                <a:cubicBezTo>
                  <a:pt x="1406949" y="656477"/>
                  <a:pt x="1419169" y="644260"/>
                  <a:pt x="1419169" y="628786"/>
                </a:cubicBezTo>
                <a:cubicBezTo>
                  <a:pt x="1419169" y="613309"/>
                  <a:pt x="1406949" y="601093"/>
                  <a:pt x="1391470" y="601093"/>
                </a:cubicBezTo>
                <a:close/>
                <a:moveTo>
                  <a:pt x="1186171" y="601093"/>
                </a:moveTo>
                <a:cubicBezTo>
                  <a:pt x="1170692" y="601093"/>
                  <a:pt x="1158472" y="613309"/>
                  <a:pt x="1158472" y="628786"/>
                </a:cubicBezTo>
                <a:cubicBezTo>
                  <a:pt x="1158472" y="644260"/>
                  <a:pt x="1170692" y="656477"/>
                  <a:pt x="1186171" y="656477"/>
                </a:cubicBezTo>
                <a:cubicBezTo>
                  <a:pt x="1201650" y="656477"/>
                  <a:pt x="1213870" y="644260"/>
                  <a:pt x="1213870" y="628786"/>
                </a:cubicBezTo>
                <a:cubicBezTo>
                  <a:pt x="1213870" y="613309"/>
                  <a:pt x="1201650" y="601093"/>
                  <a:pt x="1186171" y="601093"/>
                </a:cubicBezTo>
                <a:close/>
                <a:moveTo>
                  <a:pt x="2447293" y="588875"/>
                </a:moveTo>
                <a:cubicBezTo>
                  <a:pt x="2795975" y="1062094"/>
                  <a:pt x="2167044" y="1363455"/>
                  <a:pt x="2166229" y="1364270"/>
                </a:cubicBezTo>
                <a:cubicBezTo>
                  <a:pt x="2127125" y="1305627"/>
                  <a:pt x="2061950" y="1270604"/>
                  <a:pt x="2044842" y="1261644"/>
                </a:cubicBezTo>
                <a:cubicBezTo>
                  <a:pt x="2055433" y="1246169"/>
                  <a:pt x="2065209" y="1229879"/>
                  <a:pt x="2074170" y="1212774"/>
                </a:cubicBezTo>
                <a:cubicBezTo>
                  <a:pt x="2079059" y="1203815"/>
                  <a:pt x="2083947" y="1194042"/>
                  <a:pt x="2088835" y="1183453"/>
                </a:cubicBezTo>
                <a:cubicBezTo>
                  <a:pt x="2118978" y="1121552"/>
                  <a:pt x="2144233" y="1049062"/>
                  <a:pt x="2161341" y="970057"/>
                </a:cubicBezTo>
                <a:cubicBezTo>
                  <a:pt x="2163785" y="957840"/>
                  <a:pt x="2166229" y="946437"/>
                  <a:pt x="2168673" y="935034"/>
                </a:cubicBezTo>
                <a:cubicBezTo>
                  <a:pt x="2328350" y="846254"/>
                  <a:pt x="2447293" y="588875"/>
                  <a:pt x="2447293" y="588875"/>
                </a:cubicBezTo>
                <a:close/>
                <a:moveTo>
                  <a:pt x="1288820" y="588875"/>
                </a:moveTo>
                <a:cubicBezTo>
                  <a:pt x="1274156" y="588875"/>
                  <a:pt x="1261936" y="601093"/>
                  <a:pt x="1261121" y="616567"/>
                </a:cubicBezTo>
                <a:cubicBezTo>
                  <a:pt x="1261121" y="632043"/>
                  <a:pt x="1273341" y="644260"/>
                  <a:pt x="1288820" y="644260"/>
                </a:cubicBezTo>
                <a:cubicBezTo>
                  <a:pt x="1304299" y="644260"/>
                  <a:pt x="1316519" y="632043"/>
                  <a:pt x="1316519" y="616567"/>
                </a:cubicBezTo>
                <a:cubicBezTo>
                  <a:pt x="1316519" y="601093"/>
                  <a:pt x="1304299" y="588875"/>
                  <a:pt x="1288820" y="588875"/>
                </a:cubicBezTo>
                <a:close/>
                <a:moveTo>
                  <a:pt x="2148306" y="553038"/>
                </a:moveTo>
                <a:cubicBezTo>
                  <a:pt x="2257473" y="570142"/>
                  <a:pt x="2327535" y="693130"/>
                  <a:pt x="2327535" y="693130"/>
                </a:cubicBezTo>
                <a:cubicBezTo>
                  <a:pt x="2311242" y="743628"/>
                  <a:pt x="2236291" y="828335"/>
                  <a:pt x="2178449" y="872318"/>
                </a:cubicBezTo>
                <a:cubicBezTo>
                  <a:pt x="2194742" y="741185"/>
                  <a:pt x="2182522" y="625528"/>
                  <a:pt x="2148306" y="553038"/>
                </a:cubicBezTo>
                <a:close/>
                <a:moveTo>
                  <a:pt x="146235" y="513535"/>
                </a:moveTo>
                <a:cubicBezTo>
                  <a:pt x="150716" y="511499"/>
                  <a:pt x="154789" y="513942"/>
                  <a:pt x="154789" y="513942"/>
                </a:cubicBezTo>
                <a:cubicBezTo>
                  <a:pt x="154789" y="513942"/>
                  <a:pt x="163751" y="521272"/>
                  <a:pt x="163751" y="543263"/>
                </a:cubicBezTo>
                <a:cubicBezTo>
                  <a:pt x="163751" y="604350"/>
                  <a:pt x="176785" y="651590"/>
                  <a:pt x="196338" y="689057"/>
                </a:cubicBezTo>
                <a:cubicBezTo>
                  <a:pt x="198782" y="651590"/>
                  <a:pt x="206114" y="622269"/>
                  <a:pt x="211816" y="606793"/>
                </a:cubicBezTo>
                <a:cubicBezTo>
                  <a:pt x="224851" y="570141"/>
                  <a:pt x="237072" y="580730"/>
                  <a:pt x="237072" y="580730"/>
                </a:cubicBezTo>
                <a:cubicBezTo>
                  <a:pt x="237072" y="580730"/>
                  <a:pt x="246033" y="590504"/>
                  <a:pt x="240330" y="613309"/>
                </a:cubicBezTo>
                <a:cubicBezTo>
                  <a:pt x="228110" y="662179"/>
                  <a:pt x="227295" y="703718"/>
                  <a:pt x="233813" y="740370"/>
                </a:cubicBezTo>
                <a:cubicBezTo>
                  <a:pt x="246848" y="754216"/>
                  <a:pt x="261512" y="765619"/>
                  <a:pt x="276991" y="775393"/>
                </a:cubicBezTo>
                <a:cubicBezTo>
                  <a:pt x="275361" y="737926"/>
                  <a:pt x="281879" y="706975"/>
                  <a:pt x="286767" y="691500"/>
                </a:cubicBezTo>
                <a:cubicBezTo>
                  <a:pt x="297358" y="656477"/>
                  <a:pt x="311207" y="666251"/>
                  <a:pt x="311207" y="666251"/>
                </a:cubicBezTo>
                <a:cubicBezTo>
                  <a:pt x="311207" y="666251"/>
                  <a:pt x="320169" y="675210"/>
                  <a:pt x="316095" y="697202"/>
                </a:cubicBezTo>
                <a:cubicBezTo>
                  <a:pt x="309578" y="733854"/>
                  <a:pt x="308763" y="766433"/>
                  <a:pt x="313651" y="795755"/>
                </a:cubicBezTo>
                <a:cubicBezTo>
                  <a:pt x="332389" y="803085"/>
                  <a:pt x="350312" y="808787"/>
                  <a:pt x="366605" y="812859"/>
                </a:cubicBezTo>
                <a:cubicBezTo>
                  <a:pt x="365791" y="784352"/>
                  <a:pt x="369049" y="760732"/>
                  <a:pt x="372308" y="748514"/>
                </a:cubicBezTo>
                <a:cubicBezTo>
                  <a:pt x="380455" y="713491"/>
                  <a:pt x="393490" y="722451"/>
                  <a:pt x="393490" y="722451"/>
                </a:cubicBezTo>
                <a:cubicBezTo>
                  <a:pt x="393490" y="722451"/>
                  <a:pt x="402451" y="731410"/>
                  <a:pt x="400007" y="753401"/>
                </a:cubicBezTo>
                <a:cubicBezTo>
                  <a:pt x="396748" y="777022"/>
                  <a:pt x="396748" y="799013"/>
                  <a:pt x="398378" y="819375"/>
                </a:cubicBezTo>
                <a:cubicBezTo>
                  <a:pt x="420374" y="822633"/>
                  <a:pt x="435038" y="822633"/>
                  <a:pt x="438297" y="822633"/>
                </a:cubicBezTo>
                <a:cubicBezTo>
                  <a:pt x="439112" y="822633"/>
                  <a:pt x="439112" y="822633"/>
                  <a:pt x="439112" y="822633"/>
                </a:cubicBezTo>
                <a:cubicBezTo>
                  <a:pt x="448888" y="822633"/>
                  <a:pt x="456220" y="831592"/>
                  <a:pt x="455405" y="842995"/>
                </a:cubicBezTo>
                <a:cubicBezTo>
                  <a:pt x="454591" y="854398"/>
                  <a:pt x="445629" y="863358"/>
                  <a:pt x="435853" y="863358"/>
                </a:cubicBezTo>
                <a:cubicBezTo>
                  <a:pt x="140939" y="852769"/>
                  <a:pt x="130349" y="597834"/>
                  <a:pt x="135237" y="540005"/>
                </a:cubicBezTo>
                <a:cubicBezTo>
                  <a:pt x="136866" y="522087"/>
                  <a:pt x="141754" y="515571"/>
                  <a:pt x="146235" y="513535"/>
                </a:cubicBezTo>
                <a:close/>
                <a:moveTo>
                  <a:pt x="1288820" y="301362"/>
                </a:moveTo>
                <a:cubicBezTo>
                  <a:pt x="1274156" y="301362"/>
                  <a:pt x="1261936" y="313580"/>
                  <a:pt x="1261121" y="329054"/>
                </a:cubicBezTo>
                <a:cubicBezTo>
                  <a:pt x="1261121" y="344530"/>
                  <a:pt x="1273341" y="356747"/>
                  <a:pt x="1288820" y="356747"/>
                </a:cubicBezTo>
                <a:cubicBezTo>
                  <a:pt x="1304299" y="356747"/>
                  <a:pt x="1316519" y="344530"/>
                  <a:pt x="1316519" y="329054"/>
                </a:cubicBezTo>
                <a:cubicBezTo>
                  <a:pt x="1316519" y="313580"/>
                  <a:pt x="1304299" y="301362"/>
                  <a:pt x="1288820" y="301362"/>
                </a:cubicBezTo>
                <a:close/>
                <a:moveTo>
                  <a:pt x="624044" y="228056"/>
                </a:moveTo>
                <a:cubicBezTo>
                  <a:pt x="617526" y="299731"/>
                  <a:pt x="681886" y="298102"/>
                  <a:pt x="720176" y="307061"/>
                </a:cubicBezTo>
                <a:cubicBezTo>
                  <a:pt x="758466" y="316021"/>
                  <a:pt x="883111" y="323351"/>
                  <a:pt x="880667" y="489507"/>
                </a:cubicBezTo>
                <a:cubicBezTo>
                  <a:pt x="878223" y="657292"/>
                  <a:pt x="892887" y="695573"/>
                  <a:pt x="892887" y="695573"/>
                </a:cubicBezTo>
                <a:cubicBezTo>
                  <a:pt x="881482" y="603536"/>
                  <a:pt x="1005313" y="627156"/>
                  <a:pt x="993908" y="536747"/>
                </a:cubicBezTo>
                <a:cubicBezTo>
                  <a:pt x="1077819" y="604350"/>
                  <a:pt x="991464" y="668695"/>
                  <a:pt x="991464" y="668695"/>
                </a:cubicBezTo>
                <a:cubicBezTo>
                  <a:pt x="1057453" y="676025"/>
                  <a:pt x="1045232" y="751773"/>
                  <a:pt x="1045232" y="751773"/>
                </a:cubicBezTo>
                <a:cubicBezTo>
                  <a:pt x="1028124" y="699645"/>
                  <a:pt x="896146" y="715935"/>
                  <a:pt x="932807" y="805529"/>
                </a:cubicBezTo>
                <a:cubicBezTo>
                  <a:pt x="956432" y="863358"/>
                  <a:pt x="1069673" y="856027"/>
                  <a:pt x="1073746" y="781909"/>
                </a:cubicBezTo>
                <a:cubicBezTo>
                  <a:pt x="1099001" y="1058021"/>
                  <a:pt x="949100" y="1067795"/>
                  <a:pt x="844007" y="1067795"/>
                </a:cubicBezTo>
                <a:cubicBezTo>
                  <a:pt x="844007" y="1067795"/>
                  <a:pt x="910810" y="1058835"/>
                  <a:pt x="936065" y="981459"/>
                </a:cubicBezTo>
                <a:cubicBezTo>
                  <a:pt x="952359" y="934218"/>
                  <a:pt x="997981" y="898381"/>
                  <a:pt x="1024051" y="881276"/>
                </a:cubicBezTo>
                <a:cubicBezTo>
                  <a:pt x="918957" y="936662"/>
                  <a:pt x="837489" y="861729"/>
                  <a:pt x="831787" y="860914"/>
                </a:cubicBezTo>
                <a:cubicBezTo>
                  <a:pt x="825269" y="860100"/>
                  <a:pt x="778833" y="825077"/>
                  <a:pt x="738099" y="834036"/>
                </a:cubicBezTo>
                <a:cubicBezTo>
                  <a:pt x="697365" y="842995"/>
                  <a:pt x="713658" y="886163"/>
                  <a:pt x="713658" y="886163"/>
                </a:cubicBezTo>
                <a:cubicBezTo>
                  <a:pt x="639523" y="853584"/>
                  <a:pt x="699809" y="776207"/>
                  <a:pt x="699809" y="776207"/>
                </a:cubicBezTo>
                <a:cubicBezTo>
                  <a:pt x="589013" y="779465"/>
                  <a:pt x="575163" y="678469"/>
                  <a:pt x="575163" y="678469"/>
                </a:cubicBezTo>
                <a:cubicBezTo>
                  <a:pt x="605306" y="706976"/>
                  <a:pt x="699809" y="683355"/>
                  <a:pt x="723434" y="687428"/>
                </a:cubicBezTo>
                <a:cubicBezTo>
                  <a:pt x="747060" y="690686"/>
                  <a:pt x="776388" y="701274"/>
                  <a:pt x="807346" y="730596"/>
                </a:cubicBezTo>
                <a:cubicBezTo>
                  <a:pt x="838304" y="759917"/>
                  <a:pt x="857042" y="759917"/>
                  <a:pt x="857042" y="759917"/>
                </a:cubicBezTo>
                <a:cubicBezTo>
                  <a:pt x="857042" y="759917"/>
                  <a:pt x="838304" y="733854"/>
                  <a:pt x="797570" y="630414"/>
                </a:cubicBezTo>
                <a:cubicBezTo>
                  <a:pt x="756836" y="526974"/>
                  <a:pt x="704697" y="566069"/>
                  <a:pt x="704697" y="566069"/>
                </a:cubicBezTo>
                <a:cubicBezTo>
                  <a:pt x="727508" y="482177"/>
                  <a:pt x="809790" y="511498"/>
                  <a:pt x="809790" y="511498"/>
                </a:cubicBezTo>
                <a:cubicBezTo>
                  <a:pt x="812234" y="432493"/>
                  <a:pt x="761724" y="391768"/>
                  <a:pt x="761724" y="391768"/>
                </a:cubicBezTo>
                <a:cubicBezTo>
                  <a:pt x="641967" y="499281"/>
                  <a:pt x="567831" y="421904"/>
                  <a:pt x="567831" y="421904"/>
                </a:cubicBezTo>
                <a:cubicBezTo>
                  <a:pt x="633820" y="430049"/>
                  <a:pt x="665592" y="360003"/>
                  <a:pt x="665592" y="360003"/>
                </a:cubicBezTo>
                <a:cubicBezTo>
                  <a:pt x="588198" y="316835"/>
                  <a:pt x="624044" y="228056"/>
                  <a:pt x="624044" y="228056"/>
                </a:cubicBezTo>
                <a:close/>
                <a:moveTo>
                  <a:pt x="1956042" y="227243"/>
                </a:moveTo>
                <a:cubicBezTo>
                  <a:pt x="1956042" y="227243"/>
                  <a:pt x="1991888" y="316022"/>
                  <a:pt x="1914493" y="359190"/>
                </a:cubicBezTo>
                <a:cubicBezTo>
                  <a:pt x="1914493" y="359190"/>
                  <a:pt x="1947080" y="430051"/>
                  <a:pt x="2012255" y="421091"/>
                </a:cubicBezTo>
                <a:cubicBezTo>
                  <a:pt x="2012255" y="421091"/>
                  <a:pt x="1938119" y="498468"/>
                  <a:pt x="1818361" y="390955"/>
                </a:cubicBezTo>
                <a:cubicBezTo>
                  <a:pt x="1818361" y="390955"/>
                  <a:pt x="1767851" y="431680"/>
                  <a:pt x="1770295" y="510685"/>
                </a:cubicBezTo>
                <a:cubicBezTo>
                  <a:pt x="1770295" y="510685"/>
                  <a:pt x="1853392" y="481364"/>
                  <a:pt x="1875389" y="565256"/>
                </a:cubicBezTo>
                <a:cubicBezTo>
                  <a:pt x="1875389" y="565256"/>
                  <a:pt x="1824064" y="526161"/>
                  <a:pt x="1783330" y="629601"/>
                </a:cubicBezTo>
                <a:cubicBezTo>
                  <a:pt x="1742596" y="733041"/>
                  <a:pt x="1723859" y="759105"/>
                  <a:pt x="1723859" y="759105"/>
                </a:cubicBezTo>
                <a:cubicBezTo>
                  <a:pt x="1723859" y="759105"/>
                  <a:pt x="1742596" y="759105"/>
                  <a:pt x="1773554" y="729783"/>
                </a:cubicBezTo>
                <a:cubicBezTo>
                  <a:pt x="1804512" y="700461"/>
                  <a:pt x="1833840" y="690687"/>
                  <a:pt x="1857466" y="686615"/>
                </a:cubicBezTo>
                <a:cubicBezTo>
                  <a:pt x="1881091" y="682542"/>
                  <a:pt x="1976409" y="706163"/>
                  <a:pt x="2005737" y="677656"/>
                </a:cubicBezTo>
                <a:cubicBezTo>
                  <a:pt x="2005737" y="677656"/>
                  <a:pt x="1991888" y="779467"/>
                  <a:pt x="1881091" y="775394"/>
                </a:cubicBezTo>
                <a:cubicBezTo>
                  <a:pt x="1881091" y="775394"/>
                  <a:pt x="1941378" y="853585"/>
                  <a:pt x="1867242" y="885350"/>
                </a:cubicBezTo>
                <a:cubicBezTo>
                  <a:pt x="1867242" y="885350"/>
                  <a:pt x="1883536" y="842182"/>
                  <a:pt x="1842802" y="833223"/>
                </a:cubicBezTo>
                <a:cubicBezTo>
                  <a:pt x="1802068" y="824264"/>
                  <a:pt x="1755631" y="859287"/>
                  <a:pt x="1749114" y="860101"/>
                </a:cubicBezTo>
                <a:cubicBezTo>
                  <a:pt x="1743411" y="861730"/>
                  <a:pt x="1661943" y="935849"/>
                  <a:pt x="1556850" y="880464"/>
                </a:cubicBezTo>
                <a:cubicBezTo>
                  <a:pt x="1583734" y="897568"/>
                  <a:pt x="1629356" y="932591"/>
                  <a:pt x="1644835" y="980646"/>
                </a:cubicBezTo>
                <a:cubicBezTo>
                  <a:pt x="1669275" y="1058022"/>
                  <a:pt x="1736894" y="1066982"/>
                  <a:pt x="1736894" y="1066982"/>
                </a:cubicBezTo>
                <a:cubicBezTo>
                  <a:pt x="1631800" y="1066982"/>
                  <a:pt x="1481085" y="1057208"/>
                  <a:pt x="1507154" y="781096"/>
                </a:cubicBezTo>
                <a:cubicBezTo>
                  <a:pt x="1511228" y="855214"/>
                  <a:pt x="1624468" y="862545"/>
                  <a:pt x="1648094" y="804716"/>
                </a:cubicBezTo>
                <a:cubicBezTo>
                  <a:pt x="1684754" y="715937"/>
                  <a:pt x="1552776" y="698832"/>
                  <a:pt x="1535668" y="750960"/>
                </a:cubicBezTo>
                <a:cubicBezTo>
                  <a:pt x="1535668" y="750960"/>
                  <a:pt x="1523448" y="675212"/>
                  <a:pt x="1589437" y="667882"/>
                </a:cubicBezTo>
                <a:cubicBezTo>
                  <a:pt x="1589437" y="667882"/>
                  <a:pt x="1503081" y="603537"/>
                  <a:pt x="1586993" y="535934"/>
                </a:cubicBezTo>
                <a:cubicBezTo>
                  <a:pt x="1575587" y="626343"/>
                  <a:pt x="1699418" y="602723"/>
                  <a:pt x="1687198" y="694760"/>
                </a:cubicBezTo>
                <a:cubicBezTo>
                  <a:pt x="1687198" y="694760"/>
                  <a:pt x="1701862" y="656479"/>
                  <a:pt x="1699418" y="488694"/>
                </a:cubicBezTo>
                <a:cubicBezTo>
                  <a:pt x="1696974" y="322538"/>
                  <a:pt x="1821620" y="315208"/>
                  <a:pt x="1859910" y="306248"/>
                </a:cubicBezTo>
                <a:cubicBezTo>
                  <a:pt x="1898200" y="297289"/>
                  <a:pt x="1962559" y="298918"/>
                  <a:pt x="1956042" y="227243"/>
                </a:cubicBezTo>
                <a:close/>
                <a:moveTo>
                  <a:pt x="1360512" y="161270"/>
                </a:moveTo>
                <a:lnTo>
                  <a:pt x="1351550" y="193035"/>
                </a:lnTo>
                <a:lnTo>
                  <a:pt x="1329554" y="267154"/>
                </a:lnTo>
                <a:cubicBezTo>
                  <a:pt x="1337701" y="272855"/>
                  <a:pt x="1345033" y="280185"/>
                  <a:pt x="1350736" y="289145"/>
                </a:cubicBezTo>
                <a:lnTo>
                  <a:pt x="1423242" y="267154"/>
                </a:lnTo>
                <a:lnTo>
                  <a:pt x="1455014" y="257380"/>
                </a:lnTo>
                <a:lnTo>
                  <a:pt x="1435462" y="284258"/>
                </a:lnTo>
                <a:lnTo>
                  <a:pt x="1402060" y="330683"/>
                </a:lnTo>
                <a:lnTo>
                  <a:pt x="1436277" y="377110"/>
                </a:lnTo>
                <a:lnTo>
                  <a:pt x="1455829" y="403987"/>
                </a:lnTo>
                <a:lnTo>
                  <a:pt x="1424057" y="394214"/>
                </a:lnTo>
                <a:lnTo>
                  <a:pt x="1349921" y="372223"/>
                </a:lnTo>
                <a:cubicBezTo>
                  <a:pt x="1344218" y="380368"/>
                  <a:pt x="1337701" y="386884"/>
                  <a:pt x="1329554" y="392584"/>
                </a:cubicBezTo>
                <a:lnTo>
                  <a:pt x="1351550" y="465074"/>
                </a:lnTo>
                <a:lnTo>
                  <a:pt x="1361326" y="496840"/>
                </a:lnTo>
                <a:lnTo>
                  <a:pt x="1334442" y="477292"/>
                </a:lnTo>
                <a:lnTo>
                  <a:pt x="1288005" y="443898"/>
                </a:lnTo>
                <a:lnTo>
                  <a:pt x="1241569" y="478106"/>
                </a:lnTo>
                <a:lnTo>
                  <a:pt x="1214684" y="497654"/>
                </a:lnTo>
                <a:lnTo>
                  <a:pt x="1224461" y="465889"/>
                </a:lnTo>
                <a:lnTo>
                  <a:pt x="1245642" y="394214"/>
                </a:lnTo>
                <a:cubicBezTo>
                  <a:pt x="1237495" y="388513"/>
                  <a:pt x="1229349" y="381182"/>
                  <a:pt x="1223646" y="372223"/>
                </a:cubicBezTo>
                <a:lnTo>
                  <a:pt x="1151954" y="393399"/>
                </a:lnTo>
                <a:lnTo>
                  <a:pt x="1120182" y="403172"/>
                </a:lnTo>
                <a:lnTo>
                  <a:pt x="1139734" y="376295"/>
                </a:lnTo>
                <a:lnTo>
                  <a:pt x="1173136" y="329868"/>
                </a:lnTo>
                <a:lnTo>
                  <a:pt x="1138919" y="283443"/>
                </a:lnTo>
                <a:lnTo>
                  <a:pt x="1119367" y="256565"/>
                </a:lnTo>
                <a:lnTo>
                  <a:pt x="1151140" y="265525"/>
                </a:lnTo>
                <a:lnTo>
                  <a:pt x="1222831" y="286701"/>
                </a:lnTo>
                <a:cubicBezTo>
                  <a:pt x="1229349" y="277742"/>
                  <a:pt x="1236681" y="269597"/>
                  <a:pt x="1246457" y="263896"/>
                </a:cubicBezTo>
                <a:lnTo>
                  <a:pt x="1225275" y="192220"/>
                </a:lnTo>
                <a:lnTo>
                  <a:pt x="1213870" y="162085"/>
                </a:lnTo>
                <a:lnTo>
                  <a:pt x="1240754" y="181632"/>
                </a:lnTo>
                <a:lnTo>
                  <a:pt x="1287191" y="215026"/>
                </a:lnTo>
                <a:lnTo>
                  <a:pt x="1333627" y="180818"/>
                </a:lnTo>
                <a:close/>
                <a:moveTo>
                  <a:pt x="1234237" y="0"/>
                </a:moveTo>
                <a:cubicBezTo>
                  <a:pt x="1125070" y="144979"/>
                  <a:pt x="1099000" y="161269"/>
                  <a:pt x="1084336" y="257379"/>
                </a:cubicBezTo>
                <a:cubicBezTo>
                  <a:pt x="1053378" y="467517"/>
                  <a:pt x="1125070" y="555482"/>
                  <a:pt x="1144622" y="574214"/>
                </a:cubicBezTo>
                <a:cubicBezTo>
                  <a:pt x="1167433" y="558739"/>
                  <a:pt x="1195947" y="550594"/>
                  <a:pt x="1222017" y="545707"/>
                </a:cubicBezTo>
                <a:lnTo>
                  <a:pt x="1252160" y="541634"/>
                </a:lnTo>
                <a:cubicBezTo>
                  <a:pt x="1266824" y="540820"/>
                  <a:pt x="1278229" y="540005"/>
                  <a:pt x="1286376" y="540005"/>
                </a:cubicBezTo>
                <a:cubicBezTo>
                  <a:pt x="1286376" y="540005"/>
                  <a:pt x="1287191" y="540005"/>
                  <a:pt x="1287191" y="540005"/>
                </a:cubicBezTo>
                <a:cubicBezTo>
                  <a:pt x="1288006" y="540005"/>
                  <a:pt x="1288006" y="540005"/>
                  <a:pt x="1288006" y="540005"/>
                </a:cubicBezTo>
                <a:cubicBezTo>
                  <a:pt x="1296152" y="540005"/>
                  <a:pt x="1308373" y="540005"/>
                  <a:pt x="1322222" y="541634"/>
                </a:cubicBezTo>
                <a:lnTo>
                  <a:pt x="1352365" y="545707"/>
                </a:lnTo>
                <a:cubicBezTo>
                  <a:pt x="1378435" y="550594"/>
                  <a:pt x="1406949" y="559553"/>
                  <a:pt x="1429759" y="574214"/>
                </a:cubicBezTo>
                <a:cubicBezTo>
                  <a:pt x="1450126" y="555482"/>
                  <a:pt x="1521818" y="467517"/>
                  <a:pt x="1490046" y="257379"/>
                </a:cubicBezTo>
                <a:cubicBezTo>
                  <a:pt x="1476196" y="161269"/>
                  <a:pt x="1450126" y="145794"/>
                  <a:pt x="1340145" y="0"/>
                </a:cubicBezTo>
                <a:cubicBezTo>
                  <a:pt x="1450941" y="38281"/>
                  <a:pt x="1503081" y="149866"/>
                  <a:pt x="1518559" y="196292"/>
                </a:cubicBezTo>
                <a:cubicBezTo>
                  <a:pt x="1521818" y="159640"/>
                  <a:pt x="1532409" y="154753"/>
                  <a:pt x="1559293" y="155567"/>
                </a:cubicBezTo>
                <a:cubicBezTo>
                  <a:pt x="1635873" y="180817"/>
                  <a:pt x="1623653" y="236202"/>
                  <a:pt x="1686383" y="282628"/>
                </a:cubicBezTo>
                <a:cubicBezTo>
                  <a:pt x="1639132" y="293216"/>
                  <a:pt x="1578846" y="184889"/>
                  <a:pt x="1552776" y="193034"/>
                </a:cubicBezTo>
                <a:cubicBezTo>
                  <a:pt x="1542185" y="254121"/>
                  <a:pt x="1551146" y="304619"/>
                  <a:pt x="1547073" y="338013"/>
                </a:cubicBezTo>
                <a:cubicBezTo>
                  <a:pt x="1560108" y="326610"/>
                  <a:pt x="1566626" y="318465"/>
                  <a:pt x="1577216" y="317651"/>
                </a:cubicBezTo>
                <a:cubicBezTo>
                  <a:pt x="1586992" y="316836"/>
                  <a:pt x="1613062" y="321723"/>
                  <a:pt x="1628541" y="343714"/>
                </a:cubicBezTo>
                <a:cubicBezTo>
                  <a:pt x="1629356" y="375480"/>
                  <a:pt x="1622024" y="434123"/>
                  <a:pt x="1643205" y="507427"/>
                </a:cubicBezTo>
                <a:cubicBezTo>
                  <a:pt x="1604101" y="462630"/>
                  <a:pt x="1591880" y="381995"/>
                  <a:pt x="1587807" y="358375"/>
                </a:cubicBezTo>
                <a:cubicBezTo>
                  <a:pt x="1574772" y="372222"/>
                  <a:pt x="1558479" y="404801"/>
                  <a:pt x="1552776" y="433308"/>
                </a:cubicBezTo>
                <a:cubicBezTo>
                  <a:pt x="1541370" y="486250"/>
                  <a:pt x="1499822" y="570143"/>
                  <a:pt x="1466420" y="614124"/>
                </a:cubicBezTo>
                <a:cubicBezTo>
                  <a:pt x="1473752" y="631228"/>
                  <a:pt x="1473752" y="643447"/>
                  <a:pt x="1471308" y="660550"/>
                </a:cubicBezTo>
                <a:cubicBezTo>
                  <a:pt x="1494119" y="676840"/>
                  <a:pt x="1496563" y="700460"/>
                  <a:pt x="1488416" y="715935"/>
                </a:cubicBezTo>
                <a:cubicBezTo>
                  <a:pt x="1480270" y="733039"/>
                  <a:pt x="1458273" y="744442"/>
                  <a:pt x="1432204" y="733854"/>
                </a:cubicBezTo>
                <a:lnTo>
                  <a:pt x="1424057" y="730596"/>
                </a:lnTo>
                <a:cubicBezTo>
                  <a:pt x="1397172" y="719193"/>
                  <a:pt x="1347477" y="698831"/>
                  <a:pt x="1287191" y="698016"/>
                </a:cubicBezTo>
                <a:cubicBezTo>
                  <a:pt x="1226905" y="698831"/>
                  <a:pt x="1177209" y="719193"/>
                  <a:pt x="1150325" y="730596"/>
                </a:cubicBezTo>
                <a:lnTo>
                  <a:pt x="1142178" y="733854"/>
                </a:lnTo>
                <a:cubicBezTo>
                  <a:pt x="1116108" y="743628"/>
                  <a:pt x="1094112" y="732225"/>
                  <a:pt x="1085966" y="715935"/>
                </a:cubicBezTo>
                <a:cubicBezTo>
                  <a:pt x="1078633" y="700460"/>
                  <a:pt x="1081077" y="676840"/>
                  <a:pt x="1103074" y="660550"/>
                </a:cubicBezTo>
                <a:cubicBezTo>
                  <a:pt x="1100630" y="643447"/>
                  <a:pt x="1100630" y="631228"/>
                  <a:pt x="1107962" y="614124"/>
                </a:cubicBezTo>
                <a:cubicBezTo>
                  <a:pt x="1073745" y="570143"/>
                  <a:pt x="1033011" y="486250"/>
                  <a:pt x="1021606" y="433308"/>
                </a:cubicBezTo>
                <a:cubicBezTo>
                  <a:pt x="1015088" y="404801"/>
                  <a:pt x="999610" y="372222"/>
                  <a:pt x="986575" y="358375"/>
                </a:cubicBezTo>
                <a:cubicBezTo>
                  <a:pt x="982501" y="381995"/>
                  <a:pt x="970281" y="462630"/>
                  <a:pt x="931177" y="507427"/>
                </a:cubicBezTo>
                <a:cubicBezTo>
                  <a:pt x="952358" y="434123"/>
                  <a:pt x="944211" y="375480"/>
                  <a:pt x="945841" y="343714"/>
                </a:cubicBezTo>
                <a:cubicBezTo>
                  <a:pt x="961320" y="322538"/>
                  <a:pt x="987389" y="316836"/>
                  <a:pt x="997165" y="317651"/>
                </a:cubicBezTo>
                <a:cubicBezTo>
                  <a:pt x="1006942" y="318465"/>
                  <a:pt x="1014274" y="326610"/>
                  <a:pt x="1027309" y="338013"/>
                </a:cubicBezTo>
                <a:cubicBezTo>
                  <a:pt x="1024050" y="304619"/>
                  <a:pt x="1032197" y="254121"/>
                  <a:pt x="1021606" y="193034"/>
                </a:cubicBezTo>
                <a:cubicBezTo>
                  <a:pt x="995536" y="184075"/>
                  <a:pt x="935250" y="293216"/>
                  <a:pt x="887184" y="282628"/>
                </a:cubicBezTo>
                <a:cubicBezTo>
                  <a:pt x="949914" y="237016"/>
                  <a:pt x="937694" y="180817"/>
                  <a:pt x="1014274" y="155567"/>
                </a:cubicBezTo>
                <a:cubicBezTo>
                  <a:pt x="1041158" y="154753"/>
                  <a:pt x="1051749" y="159640"/>
                  <a:pt x="1055008" y="196292"/>
                </a:cubicBezTo>
                <a:cubicBezTo>
                  <a:pt x="1071301" y="149866"/>
                  <a:pt x="1122626" y="38281"/>
                  <a:pt x="1234237" y="0"/>
                </a:cubicBezTo>
                <a:close/>
              </a:path>
            </a:pathLst>
          </a:custGeom>
          <a:solidFill>
            <a:srgbClr val="0A3465"/>
          </a:solidFill>
          <a:ln w="8132" cap="flat">
            <a:noFill/>
            <a:prstDash val="solid"/>
            <a:miter/>
          </a:ln>
        </p:spPr>
        <p:txBody>
          <a:bodyPr rtlCol="0" anchor="ctr">
            <a:noAutofit/>
          </a:bodyPr>
          <a:lstStyle/>
          <a:p>
            <a:endParaRPr lang="en-AU"/>
          </a:p>
        </p:txBody>
      </p:sp>
      <p:sp>
        <p:nvSpPr>
          <p:cNvPr id="3" name="Picture Placeholder 15">
            <a:extLst>
              <a:ext uri="{FF2B5EF4-FFF2-40B4-BE49-F238E27FC236}">
                <a16:creationId xmlns:a16="http://schemas.microsoft.com/office/drawing/2014/main" id="{233C9C6F-3E1D-2D2D-2306-53A4FA330F49}"/>
              </a:ext>
            </a:extLst>
          </p:cNvPr>
          <p:cNvSpPr>
            <a:spLocks noGrp="1"/>
          </p:cNvSpPr>
          <p:nvPr>
            <p:ph type="pic" sz="quarter" idx="14" hasCustomPrompt="1"/>
          </p:nvPr>
        </p:nvSpPr>
        <p:spPr>
          <a:xfrm>
            <a:off x="0" y="-6711"/>
            <a:ext cx="12192000" cy="4323080"/>
          </a:xfrm>
          <a:solidFill>
            <a:schemeClr val="bg1">
              <a:lumMod val="95000"/>
            </a:schemeClr>
          </a:solidFill>
        </p:spPr>
        <p:txBody>
          <a:bodyPr bIns="900000" anchor="ctr">
            <a:noAutofit/>
          </a:bodyPr>
          <a:lstStyle>
            <a:lvl1pPr algn="ctr">
              <a:spcAft>
                <a:spcPts val="0"/>
              </a:spcAft>
              <a:defRPr sz="1400" b="0">
                <a:latin typeface="+mn-lt"/>
                <a:ea typeface="Calibri" panose="020F0502020204030204" pitchFamily="34" charset="0"/>
                <a:cs typeface="Calibri" panose="020F0502020204030204" pitchFamily="34" charset="0"/>
              </a:defRPr>
            </a:lvl1pPr>
          </a:lstStyle>
          <a:p>
            <a:r>
              <a:rPr lang="en-NZ"/>
              <a:t>Click icon to insert picture, then right click and ‘send to back’</a:t>
            </a:r>
            <a:endParaRPr lang="en-AU"/>
          </a:p>
        </p:txBody>
      </p:sp>
    </p:spTree>
    <p:extLst>
      <p:ext uri="{BB962C8B-B14F-4D97-AF65-F5344CB8AC3E}">
        <p14:creationId xmlns:p14="http://schemas.microsoft.com/office/powerpoint/2010/main" val="369773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Pictur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96912" y="1592263"/>
            <a:ext cx="5256123" cy="4681537"/>
          </a:xfrm>
        </p:spPr>
        <p:txBody>
          <a:bodyPr>
            <a:noAutofit/>
          </a:bodyPr>
          <a:lstStyle>
            <a:lvl1pPr>
              <a:defRPr lang="en-AU" noProof="0" dirty="0" smtClean="0"/>
            </a:lvl1pPr>
            <a:lvl2pPr>
              <a:defRPr lang="en-AU" noProof="0" dirty="0" smtClean="0"/>
            </a:lvl2pPr>
            <a:lvl3pPr>
              <a:defRPr lang="en-AU" noProof="0" dirty="0" smtClean="0"/>
            </a:lvl3pPr>
            <a:lvl4pPr>
              <a:defRPr lang="en-AU" noProof="0" dirty="0" smtClean="0"/>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AU" noProof="0" dirty="0" smtClean="0"/>
            </a:lvl5pPr>
            <a:lvl6pPr>
              <a:defRPr lang="en-AU" noProof="0" dirty="0" smtClean="0"/>
            </a:lvl6pPr>
            <a:lvl7pPr>
              <a:defRPr lang="en-AU" noProof="0" dirty="0" smtClean="0"/>
            </a:lvl7pPr>
            <a:lvl8pPr>
              <a:defRPr lang="en-AU" noProof="0" dirty="0" smtClean="0"/>
            </a:lvl8pPr>
            <a:lvl9pPr>
              <a:defRPr lang="en-AU" noProof="0" dirty="0"/>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7" name="Picture Placeholder 2"/>
          <p:cNvSpPr>
            <a:spLocks noGrp="1"/>
          </p:cNvSpPr>
          <p:nvPr>
            <p:ph type="pic" idx="10" hasCustomPrompt="1"/>
          </p:nvPr>
        </p:nvSpPr>
        <p:spPr>
          <a:xfrm>
            <a:off x="6241603" y="1592264"/>
            <a:ext cx="5256660" cy="4681536"/>
          </a:xfrm>
          <a:solidFill>
            <a:schemeClr val="bg1">
              <a:lumMod val="95000"/>
            </a:schemeClr>
          </a:solidFill>
        </p:spPr>
        <p:txBody>
          <a:bodyPr anchor="ctr">
            <a:noAutofit/>
          </a:bodyPr>
          <a:lstStyle>
            <a:lvl1pPr marL="0" indent="0" algn="ctr">
              <a:spcBef>
                <a:spcPts val="0"/>
              </a:spcBef>
              <a:spcAft>
                <a:spcPts val="0"/>
              </a:spcAft>
              <a:buNone/>
              <a:defRPr lang="en-AU" sz="1400" b="0" dirty="0">
                <a:latin typeface="+mn-lt"/>
              </a:defRPr>
            </a:lvl1pPr>
            <a:lvl2pPr marL="544388" indent="0">
              <a:buNone/>
              <a:defRPr sz="3300"/>
            </a:lvl2pPr>
            <a:lvl3pPr marL="1088776" indent="0">
              <a:buNone/>
              <a:defRPr sz="2900"/>
            </a:lvl3pPr>
            <a:lvl4pPr marL="1633164" indent="0">
              <a:buNone/>
              <a:defRPr sz="2400"/>
            </a:lvl4pPr>
            <a:lvl5pPr marL="2177552" indent="0">
              <a:buNone/>
              <a:defRPr sz="2400"/>
            </a:lvl5pPr>
            <a:lvl6pPr marL="2721940" indent="0">
              <a:buNone/>
              <a:defRPr sz="2400"/>
            </a:lvl6pPr>
            <a:lvl7pPr marL="3266328" indent="0">
              <a:buNone/>
              <a:defRPr sz="2400"/>
            </a:lvl7pPr>
            <a:lvl8pPr marL="3810716" indent="0">
              <a:buNone/>
              <a:defRPr sz="2400"/>
            </a:lvl8pPr>
            <a:lvl9pPr marL="4355104" indent="0">
              <a:buNone/>
              <a:defRPr sz="2400"/>
            </a:lvl9pPr>
          </a:lstStyle>
          <a:p>
            <a:r>
              <a:rPr lang="en-AU" noProof="0"/>
              <a:t>Click icon to add picture</a:t>
            </a:r>
            <a:br>
              <a:rPr lang="en-AU" noProof="0"/>
            </a:br>
            <a:br>
              <a:rPr lang="en-AU" noProof="0"/>
            </a:br>
            <a:br>
              <a:rPr lang="en-AU" noProof="0"/>
            </a:br>
            <a:endParaRPr lang="en-AU" noProof="0"/>
          </a:p>
        </p:txBody>
      </p:sp>
      <p:sp>
        <p:nvSpPr>
          <p:cNvPr id="4" name="Title 3">
            <a:extLst>
              <a:ext uri="{FF2B5EF4-FFF2-40B4-BE49-F238E27FC236}">
                <a16:creationId xmlns:a16="http://schemas.microsoft.com/office/drawing/2014/main" id="{A4A254C3-A2AA-4A78-84A8-D436C004BFFF}"/>
              </a:ext>
            </a:extLst>
          </p:cNvPr>
          <p:cNvSpPr>
            <a:spLocks noGrp="1"/>
          </p:cNvSpPr>
          <p:nvPr>
            <p:ph type="title" hasCustomPrompt="1"/>
          </p:nvPr>
        </p:nvSpPr>
        <p:spPr/>
        <p:txBody>
          <a:bodyPr>
            <a:noAutofit/>
          </a:bodyPr>
          <a:lstStyle>
            <a:lvl1pPr>
              <a:defRPr/>
            </a:lvl1pPr>
          </a:lstStyle>
          <a:p>
            <a:r>
              <a:rPr lang="en-AU" noProof="0"/>
              <a:t>Click to add text</a:t>
            </a:r>
            <a:endParaRPr lang="en-AU"/>
          </a:p>
        </p:txBody>
      </p:sp>
      <p:sp>
        <p:nvSpPr>
          <p:cNvPr id="8" name="Slide Number Placeholder 7">
            <a:extLst>
              <a:ext uri="{FF2B5EF4-FFF2-40B4-BE49-F238E27FC236}">
                <a16:creationId xmlns:a16="http://schemas.microsoft.com/office/drawing/2014/main" id="{2BBEF7E6-AC25-8D36-991A-235C4FC870F9}"/>
              </a:ext>
            </a:extLst>
          </p:cNvPr>
          <p:cNvSpPr>
            <a:spLocks noGrp="1"/>
          </p:cNvSpPr>
          <p:nvPr>
            <p:ph type="sldNum" sz="quarter" idx="12"/>
          </p:nvPr>
        </p:nvSpPr>
        <p:spPr/>
        <p:txBody>
          <a:bodyPr/>
          <a:lstStyle/>
          <a:p>
            <a:fld id="{E917DE0E-AFB1-41FD-BC35-27DB61CA125F}" type="slidenum">
              <a:rPr lang="en-AU" smtClean="0"/>
              <a:pPr/>
              <a:t>‹#›</a:t>
            </a:fld>
            <a:endParaRPr lang="en-AU"/>
          </a:p>
        </p:txBody>
      </p:sp>
      <p:sp>
        <p:nvSpPr>
          <p:cNvPr id="9" name="Freeform 5">
            <a:extLst>
              <a:ext uri="{FF2B5EF4-FFF2-40B4-BE49-F238E27FC236}">
                <a16:creationId xmlns:a16="http://schemas.microsoft.com/office/drawing/2014/main" id="{8C7446DF-BA33-DB55-B7CF-39C68F5C0199}"/>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10" name="Straight Connector 9">
            <a:extLst>
              <a:ext uri="{FF2B5EF4-FFF2-40B4-BE49-F238E27FC236}">
                <a16:creationId xmlns:a16="http://schemas.microsoft.com/office/drawing/2014/main" id="{F7ABFEC4-370E-2A5B-179C-DB35753C4DAD}"/>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76A7600C-403E-7708-5E53-FF04075B01CD}"/>
              </a:ext>
            </a:extLst>
          </p:cNvPr>
          <p:cNvSpPr>
            <a:spLocks noGrp="1"/>
          </p:cNvSpPr>
          <p:nvPr>
            <p:ph type="ftr" sz="quarter" idx="13"/>
          </p:nvPr>
        </p:nvSpPr>
        <p:spPr/>
        <p:txBody>
          <a:bodyPr/>
          <a:lstStyle/>
          <a:p>
            <a:endParaRPr lang="en-AU"/>
          </a:p>
        </p:txBody>
      </p:sp>
    </p:spTree>
    <p:extLst>
      <p:ext uri="{BB962C8B-B14F-4D97-AF65-F5344CB8AC3E}">
        <p14:creationId xmlns:p14="http://schemas.microsoft.com/office/powerpoint/2010/main" val="68781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mp; 2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6E3C-E467-4EDA-A266-6A127DB9125D}"/>
              </a:ext>
            </a:extLst>
          </p:cNvPr>
          <p:cNvSpPr>
            <a:spLocks noGrp="1"/>
          </p:cNvSpPr>
          <p:nvPr>
            <p:ph type="title" hasCustomPrompt="1"/>
          </p:nvPr>
        </p:nvSpPr>
        <p:spPr/>
        <p:txBody>
          <a:bodyPr>
            <a:noAutofit/>
          </a:bodyPr>
          <a:lstStyle>
            <a:lvl1pPr>
              <a:defRPr/>
            </a:lvl1pPr>
          </a:lstStyle>
          <a:p>
            <a:r>
              <a:rPr lang="en-AU" noProof="0"/>
              <a:t>Click to add text</a:t>
            </a:r>
            <a:endParaRPr lang="en-AU"/>
          </a:p>
        </p:txBody>
      </p:sp>
      <p:sp>
        <p:nvSpPr>
          <p:cNvPr id="8" name="Slide Number Placeholder 7">
            <a:extLst>
              <a:ext uri="{FF2B5EF4-FFF2-40B4-BE49-F238E27FC236}">
                <a16:creationId xmlns:a16="http://schemas.microsoft.com/office/drawing/2014/main" id="{4854CA48-B9DE-4CC2-CA41-A8C47C176ED5}"/>
              </a:ext>
            </a:extLst>
          </p:cNvPr>
          <p:cNvSpPr>
            <a:spLocks noGrp="1"/>
          </p:cNvSpPr>
          <p:nvPr>
            <p:ph type="sldNum" sz="quarter" idx="17"/>
          </p:nvPr>
        </p:nvSpPr>
        <p:spPr/>
        <p:txBody>
          <a:bodyPr/>
          <a:lstStyle/>
          <a:p>
            <a:fld id="{E917DE0E-AFB1-41FD-BC35-27DB61CA125F}" type="slidenum">
              <a:rPr lang="en-AU" smtClean="0"/>
              <a:pPr/>
              <a:t>‹#›</a:t>
            </a:fld>
            <a:endParaRPr lang="en-AU"/>
          </a:p>
        </p:txBody>
      </p:sp>
      <p:sp>
        <p:nvSpPr>
          <p:cNvPr id="12" name="Content Placeholder 2">
            <a:extLst>
              <a:ext uri="{FF2B5EF4-FFF2-40B4-BE49-F238E27FC236}">
                <a16:creationId xmlns:a16="http://schemas.microsoft.com/office/drawing/2014/main" id="{B8BBA1E7-EB37-607E-89B6-6605E4C4E7C7}"/>
              </a:ext>
            </a:extLst>
          </p:cNvPr>
          <p:cNvSpPr>
            <a:spLocks noGrp="1"/>
          </p:cNvSpPr>
          <p:nvPr>
            <p:ph sz="half" idx="1" hasCustomPrompt="1"/>
          </p:nvPr>
        </p:nvSpPr>
        <p:spPr>
          <a:xfrm>
            <a:off x="696912" y="1592263"/>
            <a:ext cx="5256123" cy="4681537"/>
          </a:xfrm>
        </p:spPr>
        <p:txBody>
          <a:bodyPr>
            <a:noAutofit/>
          </a:bodyPr>
          <a:lstStyle>
            <a:lvl1pPr>
              <a:defRPr lang="en-AU" noProof="0" dirty="0" smtClean="0"/>
            </a:lvl1pPr>
            <a:lvl2pPr>
              <a:defRPr lang="en-AU" noProof="0" dirty="0" smtClean="0"/>
            </a:lvl2pPr>
            <a:lvl3pPr>
              <a:defRPr lang="en-AU" noProof="0" dirty="0" smtClean="0"/>
            </a:lvl3pPr>
            <a:lvl4pPr>
              <a:defRPr lang="en-AU" noProof="0" dirty="0" smtClean="0"/>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AU" noProof="0" dirty="0" smtClean="0"/>
            </a:lvl5pPr>
            <a:lvl6pPr>
              <a:defRPr lang="en-AU" noProof="0" dirty="0" smtClean="0"/>
            </a:lvl6pPr>
            <a:lvl7pPr>
              <a:defRPr lang="en-AU" noProof="0" dirty="0" smtClean="0"/>
            </a:lvl7pPr>
            <a:lvl8pPr>
              <a:defRPr lang="en-AU" noProof="0" dirty="0" smtClean="0"/>
            </a:lvl8pPr>
            <a:lvl9pPr>
              <a:defRPr lang="en-AU" noProof="0" dirty="0"/>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Picture Placeholder 2">
            <a:extLst>
              <a:ext uri="{FF2B5EF4-FFF2-40B4-BE49-F238E27FC236}">
                <a16:creationId xmlns:a16="http://schemas.microsoft.com/office/drawing/2014/main" id="{B80FBBF9-2DFC-3D84-7AAF-FDAAFEA30AE4}"/>
              </a:ext>
            </a:extLst>
          </p:cNvPr>
          <p:cNvSpPr>
            <a:spLocks noGrp="1"/>
          </p:cNvSpPr>
          <p:nvPr>
            <p:ph type="pic" idx="10"/>
          </p:nvPr>
        </p:nvSpPr>
        <p:spPr>
          <a:xfrm>
            <a:off x="6242195" y="1593850"/>
            <a:ext cx="5256068" cy="1865209"/>
          </a:xfrm>
          <a:prstGeom prst="rect">
            <a:avLst/>
          </a:prstGeom>
          <a:solidFill>
            <a:schemeClr val="bg1">
              <a:lumMod val="95000"/>
            </a:schemeClr>
          </a:solidFill>
        </p:spPr>
        <p:txBody>
          <a:bodyPr vert="horz" lIns="0" tIns="0" rIns="0" bIns="0" rtlCol="0" anchor="ctr">
            <a:noAutofit/>
          </a:bodyPr>
          <a:lstStyle>
            <a:lvl5pPr>
              <a:defRPr lang="en-AU" noProof="0" dirty="0"/>
            </a:lvl5pPr>
          </a:lstStyle>
          <a:p>
            <a:pPr lvl="4" algn="ctr"/>
            <a:r>
              <a:rPr lang="en-US" noProof="0"/>
              <a:t>Click icon to add picture</a:t>
            </a:r>
            <a:endParaRPr lang="en-AU" noProof="0"/>
          </a:p>
        </p:txBody>
      </p:sp>
      <p:sp>
        <p:nvSpPr>
          <p:cNvPr id="14" name="Text Placeholder 3">
            <a:extLst>
              <a:ext uri="{FF2B5EF4-FFF2-40B4-BE49-F238E27FC236}">
                <a16:creationId xmlns:a16="http://schemas.microsoft.com/office/drawing/2014/main" id="{645639C9-7764-6E17-8B5C-C8CCAE5C1A87}"/>
              </a:ext>
            </a:extLst>
          </p:cNvPr>
          <p:cNvSpPr>
            <a:spLocks noGrp="1"/>
          </p:cNvSpPr>
          <p:nvPr>
            <p:ph type="body" sz="half" idx="13" hasCustomPrompt="1"/>
          </p:nvPr>
        </p:nvSpPr>
        <p:spPr>
          <a:xfrm>
            <a:off x="6242195" y="6052180"/>
            <a:ext cx="5256068" cy="217175"/>
          </a:xfrm>
          <a:prstGeom prst="rect">
            <a:avLst/>
          </a:prstGeom>
        </p:spPr>
        <p:txBody>
          <a:bodyPr>
            <a:noAutofit/>
          </a:bodyPr>
          <a:lstStyle>
            <a:lvl1pPr marL="0" indent="0">
              <a:buNone/>
              <a:defRPr sz="1200" b="1">
                <a:solidFill>
                  <a:schemeClr val="tx1"/>
                </a:solidFill>
                <a:latin typeface="+mj-lt"/>
              </a:defRPr>
            </a:lvl1pPr>
            <a:lvl2pPr marL="544388" indent="0">
              <a:buNone/>
              <a:defRPr sz="1400"/>
            </a:lvl2pPr>
            <a:lvl3pPr marL="1088776" indent="0">
              <a:buNone/>
              <a:defRPr sz="1200"/>
            </a:lvl3pPr>
            <a:lvl4pPr marL="1633164" indent="0">
              <a:buNone/>
              <a:defRPr sz="1100"/>
            </a:lvl4pPr>
            <a:lvl5pPr marL="2177552" indent="0">
              <a:buNone/>
              <a:defRPr sz="1100"/>
            </a:lvl5pPr>
            <a:lvl6pPr marL="2721940" indent="0">
              <a:buNone/>
              <a:defRPr sz="1100"/>
            </a:lvl6pPr>
            <a:lvl7pPr marL="3266328" indent="0">
              <a:buNone/>
              <a:defRPr sz="1100"/>
            </a:lvl7pPr>
            <a:lvl8pPr marL="3810716" indent="0">
              <a:buNone/>
              <a:defRPr sz="1100"/>
            </a:lvl8pPr>
            <a:lvl9pPr marL="0" indent="0">
              <a:buNone/>
              <a:defRPr sz="1000"/>
            </a:lvl9pPr>
          </a:lstStyle>
          <a:p>
            <a:pPr lvl="8"/>
            <a:r>
              <a:rPr lang="en-AU" noProof="0"/>
              <a:t>Click to add text</a:t>
            </a:r>
          </a:p>
        </p:txBody>
      </p:sp>
      <p:sp>
        <p:nvSpPr>
          <p:cNvPr id="15" name="Picture Placeholder 2">
            <a:extLst>
              <a:ext uri="{FF2B5EF4-FFF2-40B4-BE49-F238E27FC236}">
                <a16:creationId xmlns:a16="http://schemas.microsoft.com/office/drawing/2014/main" id="{1EAB5F88-DAC2-6262-9D47-0A7D45DE2F8C}"/>
              </a:ext>
            </a:extLst>
          </p:cNvPr>
          <p:cNvSpPr>
            <a:spLocks noGrp="1"/>
          </p:cNvSpPr>
          <p:nvPr>
            <p:ph type="pic" idx="14"/>
          </p:nvPr>
        </p:nvSpPr>
        <p:spPr>
          <a:xfrm>
            <a:off x="6242195" y="4188370"/>
            <a:ext cx="5256068" cy="1865209"/>
          </a:xfrm>
          <a:prstGeom prst="rect">
            <a:avLst/>
          </a:prstGeom>
          <a:solidFill>
            <a:schemeClr val="bg1">
              <a:lumMod val="95000"/>
            </a:schemeClr>
          </a:solidFill>
        </p:spPr>
        <p:txBody>
          <a:bodyPr vert="horz" lIns="0" tIns="0" rIns="0" bIns="0" rtlCol="0" anchor="ctr">
            <a:noAutofit/>
          </a:bodyPr>
          <a:lstStyle>
            <a:lvl5pPr>
              <a:defRPr lang="en-AU" noProof="0" dirty="0"/>
            </a:lvl5pPr>
          </a:lstStyle>
          <a:p>
            <a:pPr lvl="4" algn="ctr"/>
            <a:r>
              <a:rPr kumimoji="0" lang="en-US" sz="14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rPr>
              <a:t>Click icon to add picture</a:t>
            </a:r>
            <a:endParaRPr kumimoji="0" lang="en-AU" sz="14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16" name="Text Placeholder 3">
            <a:extLst>
              <a:ext uri="{FF2B5EF4-FFF2-40B4-BE49-F238E27FC236}">
                <a16:creationId xmlns:a16="http://schemas.microsoft.com/office/drawing/2014/main" id="{B4E82C37-ABF9-E3A5-B2C7-0E6B022B59FB}"/>
              </a:ext>
            </a:extLst>
          </p:cNvPr>
          <p:cNvSpPr>
            <a:spLocks noGrp="1"/>
          </p:cNvSpPr>
          <p:nvPr>
            <p:ph type="body" sz="half" idx="15" hasCustomPrompt="1"/>
          </p:nvPr>
        </p:nvSpPr>
        <p:spPr>
          <a:xfrm>
            <a:off x="6242195" y="3476884"/>
            <a:ext cx="5256068" cy="217175"/>
          </a:xfrm>
          <a:prstGeom prst="rect">
            <a:avLst/>
          </a:prstGeom>
        </p:spPr>
        <p:txBody>
          <a:bodyPr>
            <a:noAutofit/>
          </a:bodyPr>
          <a:lstStyle>
            <a:lvl1pPr marL="0" indent="0">
              <a:buNone/>
              <a:defRPr sz="1200" b="1">
                <a:solidFill>
                  <a:schemeClr val="tx1"/>
                </a:solidFill>
                <a:latin typeface="+mj-lt"/>
              </a:defRPr>
            </a:lvl1pPr>
            <a:lvl2pPr marL="544388" indent="0">
              <a:buNone/>
              <a:defRPr sz="1400"/>
            </a:lvl2pPr>
            <a:lvl3pPr marL="1088776" indent="0">
              <a:buNone/>
              <a:defRPr sz="1200"/>
            </a:lvl3pPr>
            <a:lvl4pPr marL="1633164" indent="0">
              <a:buNone/>
              <a:defRPr sz="1100"/>
            </a:lvl4pPr>
            <a:lvl5pPr marL="2177552" indent="0">
              <a:buNone/>
              <a:defRPr sz="1100"/>
            </a:lvl5pPr>
            <a:lvl6pPr marL="2721940" indent="0">
              <a:buNone/>
              <a:defRPr sz="1100"/>
            </a:lvl6pPr>
            <a:lvl7pPr marL="3266328" indent="0">
              <a:buNone/>
              <a:defRPr sz="1100"/>
            </a:lvl7pPr>
            <a:lvl8pPr marL="3810716" indent="0">
              <a:buNone/>
              <a:defRPr sz="1100"/>
            </a:lvl8pPr>
            <a:lvl9pPr marL="0" indent="0">
              <a:buNone/>
              <a:defRPr sz="1000"/>
            </a:lvl9pPr>
          </a:lstStyle>
          <a:p>
            <a:pPr lvl="8"/>
            <a:r>
              <a:rPr lang="en-AU" noProof="0"/>
              <a:t>Click to add text</a:t>
            </a:r>
          </a:p>
        </p:txBody>
      </p:sp>
      <p:sp>
        <p:nvSpPr>
          <p:cNvPr id="3" name="Freeform 5">
            <a:extLst>
              <a:ext uri="{FF2B5EF4-FFF2-40B4-BE49-F238E27FC236}">
                <a16:creationId xmlns:a16="http://schemas.microsoft.com/office/drawing/2014/main" id="{89A145EE-EB76-5729-EF97-7AA90B60FED0}"/>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7" name="Straight Connector 6">
            <a:extLst>
              <a:ext uri="{FF2B5EF4-FFF2-40B4-BE49-F238E27FC236}">
                <a16:creationId xmlns:a16="http://schemas.microsoft.com/office/drawing/2014/main" id="{4341FB0A-6F5D-71E4-325E-0479C2263B48}"/>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EF04A15-8CFD-8D4B-4B9D-0A15402E52FF}"/>
              </a:ext>
            </a:extLst>
          </p:cNvPr>
          <p:cNvSpPr>
            <a:spLocks noGrp="1"/>
          </p:cNvSpPr>
          <p:nvPr>
            <p:ph type="ftr" sz="quarter" idx="18"/>
          </p:nvPr>
        </p:nvSpPr>
        <p:spPr/>
        <p:txBody>
          <a:bodyPr/>
          <a:lstStyle/>
          <a:p>
            <a:endParaRPr lang="en-AU"/>
          </a:p>
        </p:txBody>
      </p:sp>
    </p:spTree>
    <p:extLst>
      <p:ext uri="{BB962C8B-B14F-4D97-AF65-F5344CB8AC3E}">
        <p14:creationId xmlns:p14="http://schemas.microsoft.com/office/powerpoint/2010/main" val="258809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4 Picture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96913" y="1592264"/>
            <a:ext cx="5212934" cy="4681536"/>
          </a:xfrm>
        </p:spPr>
        <p:txBody>
          <a:bodyPr>
            <a:noAutofit/>
          </a:bodyPr>
          <a:lstStyle>
            <a:lvl1pPr>
              <a:defRPr lang="en-AU" noProof="0" dirty="0" smtClean="0"/>
            </a:lvl1pPr>
            <a:lvl2pPr>
              <a:defRPr lang="en-AU" noProof="0" dirty="0" smtClean="0"/>
            </a:lvl2pPr>
            <a:lvl3pPr>
              <a:defRPr lang="en-AU" noProof="0" dirty="0" smtClean="0"/>
            </a:lvl3pPr>
            <a:lvl4pPr>
              <a:defRPr lang="en-AU" noProof="0" dirty="0" smtClean="0"/>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AU" noProof="0" dirty="0" smtClean="0"/>
            </a:lvl5pPr>
            <a:lvl6pPr>
              <a:defRPr lang="en-AU" noProof="0" dirty="0" smtClean="0"/>
            </a:lvl6pPr>
            <a:lvl7pPr>
              <a:defRPr lang="en-AU" noProof="0" dirty="0" smtClean="0"/>
            </a:lvl7pPr>
            <a:lvl8pPr>
              <a:defRPr lang="en-AU" noProof="0" dirty="0" smtClean="0"/>
            </a:lvl8pPr>
            <a:lvl9pPr>
              <a:defRPr lang="en-AU" noProof="0" dirty="0"/>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4" name="Title 3">
            <a:extLst>
              <a:ext uri="{FF2B5EF4-FFF2-40B4-BE49-F238E27FC236}">
                <a16:creationId xmlns:a16="http://schemas.microsoft.com/office/drawing/2014/main" id="{C7D3B148-A2EC-4E0C-862D-94E9A12C0C40}"/>
              </a:ext>
            </a:extLst>
          </p:cNvPr>
          <p:cNvSpPr>
            <a:spLocks noGrp="1"/>
          </p:cNvSpPr>
          <p:nvPr>
            <p:ph type="title" hasCustomPrompt="1"/>
          </p:nvPr>
        </p:nvSpPr>
        <p:spPr/>
        <p:txBody>
          <a:bodyPr>
            <a:noAutofit/>
          </a:bodyPr>
          <a:lstStyle>
            <a:lvl1pPr>
              <a:defRPr/>
            </a:lvl1pPr>
          </a:lstStyle>
          <a:p>
            <a:r>
              <a:rPr lang="en-AU" noProof="0"/>
              <a:t>Click to add text</a:t>
            </a:r>
            <a:endParaRPr lang="en-AU"/>
          </a:p>
        </p:txBody>
      </p:sp>
      <p:sp>
        <p:nvSpPr>
          <p:cNvPr id="8" name="Slide Number Placeholder 7">
            <a:extLst>
              <a:ext uri="{FF2B5EF4-FFF2-40B4-BE49-F238E27FC236}">
                <a16:creationId xmlns:a16="http://schemas.microsoft.com/office/drawing/2014/main" id="{1BA0BC92-F5F5-C2D6-7876-19723D0D6E55}"/>
              </a:ext>
            </a:extLst>
          </p:cNvPr>
          <p:cNvSpPr>
            <a:spLocks noGrp="1"/>
          </p:cNvSpPr>
          <p:nvPr>
            <p:ph type="sldNum" sz="quarter" idx="17"/>
          </p:nvPr>
        </p:nvSpPr>
        <p:spPr/>
        <p:txBody>
          <a:bodyPr/>
          <a:lstStyle/>
          <a:p>
            <a:fld id="{E917DE0E-AFB1-41FD-BC35-27DB61CA125F}" type="slidenum">
              <a:rPr lang="en-AU" smtClean="0"/>
              <a:pPr/>
              <a:t>‹#›</a:t>
            </a:fld>
            <a:endParaRPr lang="en-AU"/>
          </a:p>
        </p:txBody>
      </p:sp>
      <p:sp>
        <p:nvSpPr>
          <p:cNvPr id="9" name="Picture Placeholder 2">
            <a:extLst>
              <a:ext uri="{FF2B5EF4-FFF2-40B4-BE49-F238E27FC236}">
                <a16:creationId xmlns:a16="http://schemas.microsoft.com/office/drawing/2014/main" id="{4D986929-1456-BF18-72C3-21137BFB986A}"/>
              </a:ext>
            </a:extLst>
          </p:cNvPr>
          <p:cNvSpPr>
            <a:spLocks noGrp="1"/>
          </p:cNvSpPr>
          <p:nvPr>
            <p:ph type="pic" idx="14"/>
          </p:nvPr>
        </p:nvSpPr>
        <p:spPr>
          <a:xfrm>
            <a:off x="6106180" y="1593850"/>
            <a:ext cx="2546867" cy="2186488"/>
          </a:xfrm>
          <a:prstGeom prst="rect">
            <a:avLst/>
          </a:prstGeom>
          <a:solidFill>
            <a:schemeClr val="bg1">
              <a:lumMod val="95000"/>
            </a:schemeClr>
          </a:solidFill>
        </p:spPr>
        <p:txBody>
          <a:bodyPr vert="horz" lIns="0" tIns="0" rIns="0" bIns="0" rtlCol="0" anchor="ctr">
            <a:noAutofit/>
          </a:bodyPr>
          <a:lstStyle>
            <a:lvl1pPr>
              <a:defRPr lang="en-AU" noProof="0" dirty="0"/>
            </a:lvl1pPr>
            <a:lvl5pPr>
              <a:defRPr sz="1400">
                <a:latin typeface="+mn-lt"/>
              </a:defRPr>
            </a:lvl5pPr>
          </a:lstStyle>
          <a:p>
            <a:pPr lvl="4" algn="ctr">
              <a:spcAft>
                <a:spcPts val="0"/>
              </a:spcAft>
            </a:pPr>
            <a:r>
              <a:rPr lang="en-US" noProof="0"/>
              <a:t>Click icon to add picture</a:t>
            </a:r>
            <a:endParaRPr lang="en-AU" noProof="0"/>
          </a:p>
        </p:txBody>
      </p:sp>
      <p:sp>
        <p:nvSpPr>
          <p:cNvPr id="10" name="Picture Placeholder 2">
            <a:extLst>
              <a:ext uri="{FF2B5EF4-FFF2-40B4-BE49-F238E27FC236}">
                <a16:creationId xmlns:a16="http://schemas.microsoft.com/office/drawing/2014/main" id="{DCECBA45-A6B1-8206-A82B-B2BB76C4D079}"/>
              </a:ext>
            </a:extLst>
          </p:cNvPr>
          <p:cNvSpPr>
            <a:spLocks noGrp="1"/>
          </p:cNvSpPr>
          <p:nvPr>
            <p:ph type="pic" idx="18"/>
          </p:nvPr>
        </p:nvSpPr>
        <p:spPr>
          <a:xfrm>
            <a:off x="6106180" y="4052387"/>
            <a:ext cx="2546867" cy="2186488"/>
          </a:xfrm>
          <a:prstGeom prst="rect">
            <a:avLst/>
          </a:prstGeom>
          <a:solidFill>
            <a:schemeClr val="bg1">
              <a:lumMod val="95000"/>
            </a:schemeClr>
          </a:solidFill>
        </p:spPr>
        <p:txBody>
          <a:bodyPr vert="horz" lIns="0" tIns="0" rIns="0" bIns="0" rtlCol="0" anchor="ctr">
            <a:noAutofit/>
          </a:bodyPr>
          <a:lstStyle>
            <a:lvl1pPr>
              <a:defRPr lang="en-AU" noProof="0" dirty="0"/>
            </a:lvl1pPr>
            <a:lvl5pPr>
              <a:defRPr sz="1400">
                <a:latin typeface="+mn-lt"/>
              </a:defRPr>
            </a:lvl5pPr>
          </a:lstStyle>
          <a:p>
            <a:pPr lvl="4" algn="ctr">
              <a:spcAft>
                <a:spcPts val="0"/>
              </a:spcAft>
            </a:pPr>
            <a:r>
              <a:rPr lang="en-US" noProof="0"/>
              <a:t>Click icon to add picture</a:t>
            </a:r>
            <a:endParaRPr lang="en-AU" noProof="0"/>
          </a:p>
        </p:txBody>
      </p:sp>
      <p:sp>
        <p:nvSpPr>
          <p:cNvPr id="14" name="Picture Placeholder 2">
            <a:extLst>
              <a:ext uri="{FF2B5EF4-FFF2-40B4-BE49-F238E27FC236}">
                <a16:creationId xmlns:a16="http://schemas.microsoft.com/office/drawing/2014/main" id="{4CE3CCEB-17A3-08AE-F30E-D3642D831C67}"/>
              </a:ext>
            </a:extLst>
          </p:cNvPr>
          <p:cNvSpPr>
            <a:spLocks noGrp="1"/>
          </p:cNvSpPr>
          <p:nvPr>
            <p:ph type="pic" idx="19"/>
          </p:nvPr>
        </p:nvSpPr>
        <p:spPr>
          <a:xfrm>
            <a:off x="8951396" y="1593850"/>
            <a:ext cx="2546867" cy="2186488"/>
          </a:xfrm>
          <a:prstGeom prst="rect">
            <a:avLst/>
          </a:prstGeom>
          <a:solidFill>
            <a:schemeClr val="bg1">
              <a:lumMod val="95000"/>
            </a:schemeClr>
          </a:solidFill>
        </p:spPr>
        <p:txBody>
          <a:bodyPr vert="horz" lIns="0" tIns="0" rIns="0" bIns="0" rtlCol="0" anchor="ctr">
            <a:noAutofit/>
          </a:bodyPr>
          <a:lstStyle>
            <a:lvl1pPr>
              <a:defRPr lang="en-AU" noProof="0" dirty="0"/>
            </a:lvl1pPr>
            <a:lvl5pPr>
              <a:defRPr sz="1400">
                <a:latin typeface="+mn-lt"/>
              </a:defRPr>
            </a:lvl5pPr>
          </a:lstStyle>
          <a:p>
            <a:pPr lvl="4" algn="ctr">
              <a:spcAft>
                <a:spcPts val="0"/>
              </a:spcAft>
            </a:pPr>
            <a:r>
              <a:rPr lang="en-US" noProof="0"/>
              <a:t>Click icon to add picture</a:t>
            </a:r>
            <a:endParaRPr lang="en-AU" noProof="0"/>
          </a:p>
        </p:txBody>
      </p:sp>
      <p:sp>
        <p:nvSpPr>
          <p:cNvPr id="15" name="Picture Placeholder 2">
            <a:extLst>
              <a:ext uri="{FF2B5EF4-FFF2-40B4-BE49-F238E27FC236}">
                <a16:creationId xmlns:a16="http://schemas.microsoft.com/office/drawing/2014/main" id="{57BF4530-E105-943A-B249-35292699029D}"/>
              </a:ext>
            </a:extLst>
          </p:cNvPr>
          <p:cNvSpPr>
            <a:spLocks noGrp="1"/>
          </p:cNvSpPr>
          <p:nvPr>
            <p:ph type="pic" idx="20"/>
          </p:nvPr>
        </p:nvSpPr>
        <p:spPr>
          <a:xfrm>
            <a:off x="8951396" y="4052387"/>
            <a:ext cx="2546867" cy="2186488"/>
          </a:xfrm>
          <a:prstGeom prst="rect">
            <a:avLst/>
          </a:prstGeom>
          <a:solidFill>
            <a:schemeClr val="bg1">
              <a:lumMod val="95000"/>
            </a:schemeClr>
          </a:solidFill>
        </p:spPr>
        <p:txBody>
          <a:bodyPr vert="horz" lIns="0" tIns="0" rIns="0" bIns="0" rtlCol="0" anchor="ctr">
            <a:noAutofit/>
          </a:bodyPr>
          <a:lstStyle>
            <a:lvl1pPr>
              <a:defRPr lang="en-AU" noProof="0" dirty="0"/>
            </a:lvl1pPr>
            <a:lvl5pPr>
              <a:defRPr sz="1400">
                <a:latin typeface="+mn-lt"/>
              </a:defRPr>
            </a:lvl5pPr>
          </a:lstStyle>
          <a:p>
            <a:pPr lvl="4" algn="ctr">
              <a:spcAft>
                <a:spcPts val="0"/>
              </a:spcAft>
            </a:pPr>
            <a:r>
              <a:rPr lang="en-US" noProof="0"/>
              <a:t>Click icon to add picture</a:t>
            </a:r>
            <a:endParaRPr lang="en-AU" noProof="0"/>
          </a:p>
        </p:txBody>
      </p:sp>
      <p:sp>
        <p:nvSpPr>
          <p:cNvPr id="7" name="Freeform 5">
            <a:extLst>
              <a:ext uri="{FF2B5EF4-FFF2-40B4-BE49-F238E27FC236}">
                <a16:creationId xmlns:a16="http://schemas.microsoft.com/office/drawing/2014/main" id="{77023615-3D3D-9F92-4FA6-63186469B2B8}"/>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11" name="Straight Connector 10">
            <a:extLst>
              <a:ext uri="{FF2B5EF4-FFF2-40B4-BE49-F238E27FC236}">
                <a16:creationId xmlns:a16="http://schemas.microsoft.com/office/drawing/2014/main" id="{01B03162-5EFC-77F8-0DF6-EA3DC09C5578}"/>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E1FA392-8824-1866-A0B1-9848A0BF04F6}"/>
              </a:ext>
            </a:extLst>
          </p:cNvPr>
          <p:cNvSpPr>
            <a:spLocks noGrp="1"/>
          </p:cNvSpPr>
          <p:nvPr>
            <p:ph type="ftr" sz="quarter" idx="21"/>
          </p:nvPr>
        </p:nvSpPr>
        <p:spPr/>
        <p:txBody>
          <a:bodyPr/>
          <a:lstStyle/>
          <a:p>
            <a:endParaRPr lang="en-AU"/>
          </a:p>
        </p:txBody>
      </p:sp>
    </p:spTree>
    <p:extLst>
      <p:ext uri="{BB962C8B-B14F-4D97-AF65-F5344CB8AC3E}">
        <p14:creationId xmlns:p14="http://schemas.microsoft.com/office/powerpoint/2010/main" val="158729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eature + Icons - 3 columns">
    <p:bg>
      <p:bgPr>
        <a:solidFill>
          <a:schemeClr val="bg1">
            <a:lumMod val="95000"/>
          </a:schemeClr>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C63C244-5EF2-F667-7F66-3B91678D7945}"/>
              </a:ext>
            </a:extLst>
          </p:cNvPr>
          <p:cNvGrpSpPr/>
          <p:nvPr userDrawn="1"/>
        </p:nvGrpSpPr>
        <p:grpSpPr>
          <a:xfrm>
            <a:off x="0" y="0"/>
            <a:ext cx="12195175" cy="6858000"/>
            <a:chOff x="0" y="0"/>
            <a:chExt cx="12195175" cy="6858000"/>
          </a:xfrm>
          <a:solidFill>
            <a:schemeClr val="bg1"/>
          </a:solidFill>
        </p:grpSpPr>
        <p:sp>
          <p:nvSpPr>
            <p:cNvPr id="5" name="Rectangle 4">
              <a:extLst>
                <a:ext uri="{FF2B5EF4-FFF2-40B4-BE49-F238E27FC236}">
                  <a16:creationId xmlns:a16="http://schemas.microsoft.com/office/drawing/2014/main" id="{A0D03188-91FC-A6E6-8BF2-7286CB6E4200}"/>
                </a:ext>
              </a:extLst>
            </p:cNvPr>
            <p:cNvSpPr/>
            <p:nvPr userDrawn="1"/>
          </p:nvSpPr>
          <p:spPr>
            <a:xfrm>
              <a:off x="0" y="0"/>
              <a:ext cx="12195175" cy="333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5">
              <a:extLst>
                <a:ext uri="{FF2B5EF4-FFF2-40B4-BE49-F238E27FC236}">
                  <a16:creationId xmlns:a16="http://schemas.microsoft.com/office/drawing/2014/main" id="{39B4B601-7144-1F43-BFAD-CF5F30F7F242}"/>
                </a:ext>
              </a:extLst>
            </p:cNvPr>
            <p:cNvSpPr/>
            <p:nvPr userDrawn="1"/>
          </p:nvSpPr>
          <p:spPr>
            <a:xfrm>
              <a:off x="1" y="333375"/>
              <a:ext cx="334958" cy="65246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6">
              <a:extLst>
                <a:ext uri="{FF2B5EF4-FFF2-40B4-BE49-F238E27FC236}">
                  <a16:creationId xmlns:a16="http://schemas.microsoft.com/office/drawing/2014/main" id="{A9AF15B7-A505-688A-15AC-B2A4BE4F7915}"/>
                </a:ext>
              </a:extLst>
            </p:cNvPr>
            <p:cNvSpPr/>
            <p:nvPr userDrawn="1"/>
          </p:nvSpPr>
          <p:spPr>
            <a:xfrm>
              <a:off x="11868644" y="333375"/>
              <a:ext cx="326531" cy="65246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7">
              <a:extLst>
                <a:ext uri="{FF2B5EF4-FFF2-40B4-BE49-F238E27FC236}">
                  <a16:creationId xmlns:a16="http://schemas.microsoft.com/office/drawing/2014/main" id="{5B002E1E-09E1-09CE-7979-B7261CD6D5A2}"/>
                </a:ext>
              </a:extLst>
            </p:cNvPr>
            <p:cNvSpPr/>
            <p:nvPr userDrawn="1"/>
          </p:nvSpPr>
          <p:spPr>
            <a:xfrm>
              <a:off x="0" y="6523646"/>
              <a:ext cx="12195175" cy="333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9" name="Text Placeholder 2">
            <a:extLst>
              <a:ext uri="{FF2B5EF4-FFF2-40B4-BE49-F238E27FC236}">
                <a16:creationId xmlns:a16="http://schemas.microsoft.com/office/drawing/2014/main" id="{B2D1F40B-C92D-D932-47FF-66028CCC1706}"/>
              </a:ext>
            </a:extLst>
          </p:cNvPr>
          <p:cNvSpPr>
            <a:spLocks noGrp="1"/>
          </p:cNvSpPr>
          <p:nvPr>
            <p:ph type="body" idx="18"/>
          </p:nvPr>
        </p:nvSpPr>
        <p:spPr>
          <a:xfrm>
            <a:off x="9015036" y="2281084"/>
            <a:ext cx="2501157" cy="860678"/>
          </a:xfrm>
          <a:noFill/>
        </p:spPr>
        <p:txBody>
          <a:bodyPr lIns="0" tIns="0" rIns="0" bIns="0" numCol="1" spcCol="0" anchor="t">
            <a:noAutofit/>
          </a:bodyPr>
          <a:lstStyle>
            <a:lvl1pPr marL="0" indent="0">
              <a:spcAft>
                <a:spcPts val="1000"/>
              </a:spcAft>
              <a:buNone/>
              <a:defRPr lang="en-US" sz="1800" b="0" dirty="0" smtClean="0">
                <a:solidFill>
                  <a:schemeClr val="tx1"/>
                </a:solidFill>
                <a:latin typeface="Bahnschrift"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26" name="Slide Number Placeholder 25">
            <a:extLst>
              <a:ext uri="{FF2B5EF4-FFF2-40B4-BE49-F238E27FC236}">
                <a16:creationId xmlns:a16="http://schemas.microsoft.com/office/drawing/2014/main" id="{DF8FCAD8-6C63-400D-758E-7E3FE92B631C}"/>
              </a:ext>
            </a:extLst>
          </p:cNvPr>
          <p:cNvSpPr>
            <a:spLocks noGrp="1"/>
          </p:cNvSpPr>
          <p:nvPr>
            <p:ph type="sldNum" sz="quarter" idx="22"/>
          </p:nvPr>
        </p:nvSpPr>
        <p:spPr/>
        <p:txBody>
          <a:bodyPr/>
          <a:lstStyle/>
          <a:p>
            <a:fld id="{E917DE0E-AFB1-41FD-BC35-27DB61CA125F}" type="slidenum">
              <a:rPr lang="en-AU" smtClean="0"/>
              <a:pPr/>
              <a:t>‹#›</a:t>
            </a:fld>
            <a:endParaRPr lang="en-AU"/>
          </a:p>
        </p:txBody>
      </p:sp>
      <p:sp>
        <p:nvSpPr>
          <p:cNvPr id="14" name="Picture Placeholder 9">
            <a:extLst>
              <a:ext uri="{FF2B5EF4-FFF2-40B4-BE49-F238E27FC236}">
                <a16:creationId xmlns:a16="http://schemas.microsoft.com/office/drawing/2014/main" id="{27157328-3375-B841-1441-CF8F30066371}"/>
              </a:ext>
            </a:extLst>
          </p:cNvPr>
          <p:cNvSpPr>
            <a:spLocks noGrp="1"/>
          </p:cNvSpPr>
          <p:nvPr>
            <p:ph type="pic" sz="quarter" idx="28" hasCustomPrompt="1"/>
          </p:nvPr>
        </p:nvSpPr>
        <p:spPr>
          <a:xfrm>
            <a:off x="8046130" y="2281238"/>
            <a:ext cx="860425" cy="860425"/>
          </a:xfrm>
          <a:prstGeom prst="rect">
            <a:avLst/>
          </a:prstGeom>
        </p:spPr>
        <p:txBody>
          <a:bodyPr anchor="ctr" anchorCtr="0"/>
          <a:lstStyle>
            <a:lvl1pPr algn="ctr">
              <a:defRPr sz="1200"/>
            </a:lvl1pPr>
            <a:lvl5pPr algn="ctr">
              <a:defRPr sz="1200">
                <a:latin typeface="+mn-lt"/>
              </a:defRPr>
            </a:lvl5pPr>
          </a:lstStyle>
          <a:p>
            <a:pPr lvl="4"/>
            <a:r>
              <a:rPr lang="en-AU"/>
              <a:t>Click icon to insert picture</a:t>
            </a:r>
          </a:p>
        </p:txBody>
      </p:sp>
      <p:sp>
        <p:nvSpPr>
          <p:cNvPr id="37" name="Text Placeholder 2">
            <a:extLst>
              <a:ext uri="{FF2B5EF4-FFF2-40B4-BE49-F238E27FC236}">
                <a16:creationId xmlns:a16="http://schemas.microsoft.com/office/drawing/2014/main" id="{730138EB-E85A-5DE4-2AB2-AAC45F7DB51B}"/>
              </a:ext>
            </a:extLst>
          </p:cNvPr>
          <p:cNvSpPr>
            <a:spLocks noGrp="1"/>
          </p:cNvSpPr>
          <p:nvPr>
            <p:ph type="body" idx="39"/>
          </p:nvPr>
        </p:nvSpPr>
        <p:spPr>
          <a:xfrm>
            <a:off x="5345955" y="2281084"/>
            <a:ext cx="2501157" cy="860678"/>
          </a:xfrm>
          <a:noFill/>
        </p:spPr>
        <p:txBody>
          <a:bodyPr lIns="0" tIns="0" rIns="0" bIns="0" numCol="1" spcCol="0" anchor="t">
            <a:noAutofit/>
          </a:bodyPr>
          <a:lstStyle>
            <a:lvl1pPr marL="0" indent="0">
              <a:spcAft>
                <a:spcPts val="1000"/>
              </a:spcAft>
              <a:buNone/>
              <a:defRPr lang="en-US" sz="1800" b="0" dirty="0" smtClean="0">
                <a:solidFill>
                  <a:schemeClr val="tx1"/>
                </a:solidFill>
                <a:latin typeface="Bahnschrift"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39" name="Picture Placeholder 9">
            <a:extLst>
              <a:ext uri="{FF2B5EF4-FFF2-40B4-BE49-F238E27FC236}">
                <a16:creationId xmlns:a16="http://schemas.microsoft.com/office/drawing/2014/main" id="{B18C503E-E91A-177F-2F6F-CEA5A2768FC0}"/>
              </a:ext>
            </a:extLst>
          </p:cNvPr>
          <p:cNvSpPr>
            <a:spLocks noGrp="1"/>
          </p:cNvSpPr>
          <p:nvPr>
            <p:ph type="pic" sz="quarter" idx="41" hasCustomPrompt="1"/>
          </p:nvPr>
        </p:nvSpPr>
        <p:spPr>
          <a:xfrm>
            <a:off x="4377049" y="2281238"/>
            <a:ext cx="860425" cy="860425"/>
          </a:xfrm>
          <a:prstGeom prst="rect">
            <a:avLst/>
          </a:prstGeom>
        </p:spPr>
        <p:txBody>
          <a:bodyPr anchor="ctr" anchorCtr="0"/>
          <a:lstStyle>
            <a:lvl1pPr algn="ctr">
              <a:defRPr sz="1200"/>
            </a:lvl1pPr>
            <a:lvl5pPr algn="ctr">
              <a:defRPr sz="1200">
                <a:latin typeface="+mn-lt"/>
              </a:defRPr>
            </a:lvl5pPr>
          </a:lstStyle>
          <a:p>
            <a:pPr lvl="4"/>
            <a:r>
              <a:rPr lang="en-AU"/>
              <a:t>Click icon to insert picture</a:t>
            </a:r>
          </a:p>
        </p:txBody>
      </p:sp>
      <p:sp>
        <p:nvSpPr>
          <p:cNvPr id="40" name="Text Placeholder 2">
            <a:extLst>
              <a:ext uri="{FF2B5EF4-FFF2-40B4-BE49-F238E27FC236}">
                <a16:creationId xmlns:a16="http://schemas.microsoft.com/office/drawing/2014/main" id="{996AD613-4E81-9685-B4FF-35E7D68D10D0}"/>
              </a:ext>
            </a:extLst>
          </p:cNvPr>
          <p:cNvSpPr>
            <a:spLocks noGrp="1"/>
          </p:cNvSpPr>
          <p:nvPr>
            <p:ph type="body" idx="42"/>
          </p:nvPr>
        </p:nvSpPr>
        <p:spPr>
          <a:xfrm>
            <a:off x="1674246" y="2281084"/>
            <a:ext cx="2501157" cy="860678"/>
          </a:xfrm>
          <a:noFill/>
        </p:spPr>
        <p:txBody>
          <a:bodyPr lIns="0" tIns="0" rIns="0" bIns="0" numCol="1" spcCol="0" anchor="t">
            <a:noAutofit/>
          </a:bodyPr>
          <a:lstStyle>
            <a:lvl1pPr marL="0" indent="0">
              <a:spcAft>
                <a:spcPts val="1000"/>
              </a:spcAft>
              <a:buNone/>
              <a:defRPr lang="en-US" sz="1800" b="0" dirty="0" smtClean="0">
                <a:solidFill>
                  <a:schemeClr val="tx1"/>
                </a:solidFill>
                <a:latin typeface="Bahnschrift"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41" name="Content Placeholder 3">
            <a:extLst>
              <a:ext uri="{FF2B5EF4-FFF2-40B4-BE49-F238E27FC236}">
                <a16:creationId xmlns:a16="http://schemas.microsoft.com/office/drawing/2014/main" id="{FE0249E8-0825-FD26-1CB6-A6D8E32B952C}"/>
              </a:ext>
            </a:extLst>
          </p:cNvPr>
          <p:cNvSpPr>
            <a:spLocks noGrp="1"/>
          </p:cNvSpPr>
          <p:nvPr>
            <p:ph sz="quarter" idx="43" hasCustomPrompt="1"/>
          </p:nvPr>
        </p:nvSpPr>
        <p:spPr>
          <a:xfrm>
            <a:off x="705340" y="3413760"/>
            <a:ext cx="3452134" cy="2860040"/>
          </a:xfrm>
        </p:spPr>
        <p:txBody>
          <a:bodyPr numCol="1" spcCol="0">
            <a:noAutofit/>
          </a:bodyPr>
          <a:lstStyle>
            <a:lvl1pPr>
              <a:spcBef>
                <a:spcPts val="0"/>
              </a:spcBef>
              <a:spcAft>
                <a:spcPts val="800"/>
              </a:spcAft>
              <a:defRPr lang="en-US" dirty="0" smtClean="0">
                <a:solidFill>
                  <a:schemeClr val="tx1"/>
                </a:solidFill>
              </a:defRPr>
            </a:lvl1pPr>
            <a:lvl2pPr>
              <a:spcBef>
                <a:spcPts val="0"/>
              </a:spcBef>
              <a:spcAft>
                <a:spcPts val="800"/>
              </a:spcAft>
              <a:defRPr lang="en-US" dirty="0">
                <a:solidFill>
                  <a:schemeClr val="tx1"/>
                </a:solidFill>
              </a:defRPr>
            </a:lvl2pPr>
            <a:lvl3pPr>
              <a:spcBef>
                <a:spcPts val="0"/>
              </a:spcBef>
              <a:spcAft>
                <a:spcPts val="800"/>
              </a:spcAft>
              <a:defRPr lang="en-US" dirty="0">
                <a:solidFill>
                  <a:schemeClr val="tx1"/>
                </a:solidFill>
              </a:defRPr>
            </a:lvl3pPr>
            <a:lvl4pPr>
              <a:defRPr lang="en-US" sz="1200" b="1" dirty="0">
                <a:solidFill>
                  <a:schemeClr val="tx1"/>
                </a:solidFill>
                <a:latin typeface="+mj-lt"/>
              </a:defRPr>
            </a:lvl4pPr>
            <a:lvl5pPr marL="0" marR="0" indent="0" algn="l" defTabSz="1088776" rtl="0" eaLnBrk="1" fontAlgn="auto" latinLnBrk="0" hangingPunct="1">
              <a:lnSpc>
                <a:spcPct val="100000"/>
              </a:lnSpc>
              <a:spcBef>
                <a:spcPts val="0"/>
              </a:spcBef>
              <a:spcAft>
                <a:spcPts val="800"/>
              </a:spcAft>
              <a:buClrTx/>
              <a:buSzTx/>
              <a:buFont typeface="Arial" pitchFamily="34" charset="0"/>
              <a:buNone/>
              <a:tabLst/>
              <a:defRPr lang="en-US" sz="1100" dirty="0" smtClean="0">
                <a:solidFill>
                  <a:schemeClr val="tx1"/>
                </a:solidFill>
              </a:defRPr>
            </a:lvl5pPr>
            <a:lvl6pPr>
              <a:defRPr lang="en-US" sz="1000" dirty="0" smtClean="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42" name="Picture Placeholder 9">
            <a:extLst>
              <a:ext uri="{FF2B5EF4-FFF2-40B4-BE49-F238E27FC236}">
                <a16:creationId xmlns:a16="http://schemas.microsoft.com/office/drawing/2014/main" id="{6F5D7466-C563-BCC5-95C7-4F52ABB599E6}"/>
              </a:ext>
            </a:extLst>
          </p:cNvPr>
          <p:cNvSpPr>
            <a:spLocks noGrp="1"/>
          </p:cNvSpPr>
          <p:nvPr>
            <p:ph type="pic" sz="quarter" idx="44" hasCustomPrompt="1"/>
          </p:nvPr>
        </p:nvSpPr>
        <p:spPr>
          <a:xfrm>
            <a:off x="705340" y="2281238"/>
            <a:ext cx="860425" cy="860425"/>
          </a:xfrm>
          <a:prstGeom prst="rect">
            <a:avLst/>
          </a:prstGeom>
        </p:spPr>
        <p:txBody>
          <a:bodyPr anchor="ctr" anchorCtr="0"/>
          <a:lstStyle>
            <a:lvl1pPr algn="ctr">
              <a:defRPr sz="1200"/>
            </a:lvl1pPr>
            <a:lvl5pPr algn="ctr">
              <a:defRPr sz="1200">
                <a:latin typeface="+mn-lt"/>
              </a:defRPr>
            </a:lvl5pPr>
          </a:lstStyle>
          <a:p>
            <a:pPr lvl="4"/>
            <a:r>
              <a:rPr lang="en-AU"/>
              <a:t>Click icon to insert picture</a:t>
            </a:r>
          </a:p>
        </p:txBody>
      </p:sp>
      <p:sp>
        <p:nvSpPr>
          <p:cNvPr id="43" name="Title 3">
            <a:extLst>
              <a:ext uri="{FF2B5EF4-FFF2-40B4-BE49-F238E27FC236}">
                <a16:creationId xmlns:a16="http://schemas.microsoft.com/office/drawing/2014/main" id="{26C8F93C-0CD3-B6D0-6156-D59678C2D1E9}"/>
              </a:ext>
            </a:extLst>
          </p:cNvPr>
          <p:cNvSpPr>
            <a:spLocks noGrp="1"/>
          </p:cNvSpPr>
          <p:nvPr>
            <p:ph type="title" hasCustomPrompt="1"/>
          </p:nvPr>
        </p:nvSpPr>
        <p:spPr>
          <a:xfrm>
            <a:off x="696913" y="549274"/>
            <a:ext cx="10801350" cy="576264"/>
          </a:xfrm>
        </p:spPr>
        <p:txBody>
          <a:bodyPr>
            <a:noAutofit/>
          </a:bodyPr>
          <a:lstStyle>
            <a:lvl1pPr>
              <a:defRPr/>
            </a:lvl1pPr>
          </a:lstStyle>
          <a:p>
            <a:r>
              <a:rPr lang="en-AU" noProof="0"/>
              <a:t>Click to add text</a:t>
            </a:r>
            <a:endParaRPr lang="en-AU"/>
          </a:p>
        </p:txBody>
      </p:sp>
      <p:sp>
        <p:nvSpPr>
          <p:cNvPr id="2" name="Freeform 5">
            <a:extLst>
              <a:ext uri="{FF2B5EF4-FFF2-40B4-BE49-F238E27FC236}">
                <a16:creationId xmlns:a16="http://schemas.microsoft.com/office/drawing/2014/main" id="{A3B89367-1C3F-0CC5-DCAB-2AA40B863DAD}"/>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4" name="Straight Connector 3">
            <a:extLst>
              <a:ext uri="{FF2B5EF4-FFF2-40B4-BE49-F238E27FC236}">
                <a16:creationId xmlns:a16="http://schemas.microsoft.com/office/drawing/2014/main" id="{36E0CF61-2A2F-7898-9C9C-551A11B22312}"/>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descr="InstructionsBox">
            <a:extLst>
              <a:ext uri="{FF2B5EF4-FFF2-40B4-BE49-F238E27FC236}">
                <a16:creationId xmlns:a16="http://schemas.microsoft.com/office/drawing/2014/main" id="{008383F9-BC6B-4D22-F987-35899306B7EB}"/>
              </a:ext>
            </a:extLst>
          </p:cNvPr>
          <p:cNvSpPr txBox="1"/>
          <p:nvPr userDrawn="1"/>
        </p:nvSpPr>
        <p:spPr>
          <a:xfrm>
            <a:off x="2" y="-1954847"/>
            <a:ext cx="9012162" cy="1900103"/>
          </a:xfrm>
          <a:prstGeom prst="rect">
            <a:avLst/>
          </a:prstGeom>
          <a:solidFill>
            <a:schemeClr val="accent1"/>
          </a:solidFill>
        </p:spPr>
        <p:txBody>
          <a:bodyPr wrap="square" rtlCol="0">
            <a:noAutofit/>
          </a:bodyPr>
          <a:lstStyle/>
          <a:p>
            <a:r>
              <a:rPr lang="en-AU" sz="1400">
                <a:solidFill>
                  <a:schemeClr val="bg1"/>
                </a:solidFill>
              </a:rPr>
              <a:t>For this slide design, you can change the grey box’s colour by right-clicking </a:t>
            </a:r>
            <a:br>
              <a:rPr lang="en-AU" sz="1400">
                <a:solidFill>
                  <a:schemeClr val="bg1"/>
                </a:solidFill>
              </a:rPr>
            </a:br>
            <a:r>
              <a:rPr lang="en-AU" sz="1400">
                <a:solidFill>
                  <a:schemeClr val="bg1"/>
                </a:solidFill>
              </a:rPr>
              <a:t>somewhere on the slide, not in a content placeholder.</a:t>
            </a:r>
          </a:p>
          <a:p>
            <a:r>
              <a:rPr lang="en-US" sz="1400">
                <a:solidFill>
                  <a:schemeClr val="bg1"/>
                </a:solidFill>
              </a:rPr>
              <a:t>‘Format Background</a:t>
            </a:r>
          </a:p>
          <a:p>
            <a:r>
              <a:rPr lang="en-US" sz="1400">
                <a:solidFill>
                  <a:schemeClr val="bg1"/>
                </a:solidFill>
              </a:rPr>
              <a:t>Under the ‘Fill’ menu, ‘Solid fill’ is already selected</a:t>
            </a:r>
          </a:p>
          <a:p>
            <a:r>
              <a:rPr lang="en-US" sz="1400">
                <a:solidFill>
                  <a:schemeClr val="bg1"/>
                </a:solidFill>
              </a:rPr>
              <a:t>Go to the paint bucket button and select another </a:t>
            </a:r>
            <a:r>
              <a:rPr lang="en-US" sz="1400" err="1">
                <a:solidFill>
                  <a:schemeClr val="bg1"/>
                </a:solidFill>
              </a:rPr>
              <a:t>colour</a:t>
            </a:r>
            <a:endParaRPr lang="en-US" sz="1400">
              <a:solidFill>
                <a:schemeClr val="bg1"/>
              </a:solidFill>
            </a:endParaRPr>
          </a:p>
        </p:txBody>
      </p:sp>
      <p:sp>
        <p:nvSpPr>
          <p:cNvPr id="12" name="Content Placeholder 3">
            <a:extLst>
              <a:ext uri="{FF2B5EF4-FFF2-40B4-BE49-F238E27FC236}">
                <a16:creationId xmlns:a16="http://schemas.microsoft.com/office/drawing/2014/main" id="{49076C29-1925-65BC-33CF-643B4E4EA1EE}"/>
              </a:ext>
            </a:extLst>
          </p:cNvPr>
          <p:cNvSpPr>
            <a:spLocks noGrp="1"/>
          </p:cNvSpPr>
          <p:nvPr>
            <p:ph sz="quarter" idx="45" hasCustomPrompt="1"/>
          </p:nvPr>
        </p:nvSpPr>
        <p:spPr>
          <a:xfrm>
            <a:off x="4375443" y="3413760"/>
            <a:ext cx="3452134" cy="2860040"/>
          </a:xfrm>
        </p:spPr>
        <p:txBody>
          <a:bodyPr numCol="1" spcCol="0">
            <a:noAutofit/>
          </a:bodyPr>
          <a:lstStyle>
            <a:lvl1pPr>
              <a:spcBef>
                <a:spcPts val="0"/>
              </a:spcBef>
              <a:spcAft>
                <a:spcPts val="800"/>
              </a:spcAft>
              <a:defRPr lang="en-US" dirty="0" smtClean="0">
                <a:solidFill>
                  <a:schemeClr val="tx1"/>
                </a:solidFill>
              </a:defRPr>
            </a:lvl1pPr>
            <a:lvl2pPr>
              <a:spcBef>
                <a:spcPts val="0"/>
              </a:spcBef>
              <a:spcAft>
                <a:spcPts val="800"/>
              </a:spcAft>
              <a:defRPr lang="en-US" dirty="0">
                <a:solidFill>
                  <a:schemeClr val="tx1"/>
                </a:solidFill>
              </a:defRPr>
            </a:lvl2pPr>
            <a:lvl3pPr>
              <a:spcBef>
                <a:spcPts val="0"/>
              </a:spcBef>
              <a:spcAft>
                <a:spcPts val="800"/>
              </a:spcAft>
              <a:defRPr lang="en-US" dirty="0">
                <a:solidFill>
                  <a:schemeClr val="tx1"/>
                </a:solidFill>
              </a:defRPr>
            </a:lvl3pPr>
            <a:lvl4pPr>
              <a:defRPr lang="en-US" sz="1200" b="1" dirty="0">
                <a:solidFill>
                  <a:schemeClr val="tx1"/>
                </a:solidFill>
                <a:latin typeface="+mj-lt"/>
              </a:defRPr>
            </a:lvl4pPr>
            <a:lvl5pPr marL="0" marR="0" indent="0" algn="l" defTabSz="1088776" rtl="0" eaLnBrk="1" fontAlgn="auto" latinLnBrk="0" hangingPunct="1">
              <a:lnSpc>
                <a:spcPct val="100000"/>
              </a:lnSpc>
              <a:spcBef>
                <a:spcPts val="0"/>
              </a:spcBef>
              <a:spcAft>
                <a:spcPts val="800"/>
              </a:spcAft>
              <a:buClrTx/>
              <a:buSzTx/>
              <a:buFont typeface="Arial" pitchFamily="34" charset="0"/>
              <a:buNone/>
              <a:tabLst/>
              <a:defRPr lang="en-US" sz="1100" dirty="0" smtClean="0">
                <a:solidFill>
                  <a:schemeClr val="tx1"/>
                </a:solidFill>
              </a:defRPr>
            </a:lvl5pPr>
            <a:lvl6pPr>
              <a:defRPr lang="en-US" sz="1000" dirty="0" smtClean="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3">
            <a:extLst>
              <a:ext uri="{FF2B5EF4-FFF2-40B4-BE49-F238E27FC236}">
                <a16:creationId xmlns:a16="http://schemas.microsoft.com/office/drawing/2014/main" id="{4415CBA6-01F9-E2E8-413B-EFAF5E808510}"/>
              </a:ext>
            </a:extLst>
          </p:cNvPr>
          <p:cNvSpPr>
            <a:spLocks noGrp="1"/>
          </p:cNvSpPr>
          <p:nvPr>
            <p:ph sz="quarter" idx="46" hasCustomPrompt="1"/>
          </p:nvPr>
        </p:nvSpPr>
        <p:spPr>
          <a:xfrm>
            <a:off x="8045546" y="3413760"/>
            <a:ext cx="3452134" cy="2860040"/>
          </a:xfrm>
        </p:spPr>
        <p:txBody>
          <a:bodyPr numCol="1" spcCol="0">
            <a:noAutofit/>
          </a:bodyPr>
          <a:lstStyle>
            <a:lvl1pPr>
              <a:spcBef>
                <a:spcPts val="0"/>
              </a:spcBef>
              <a:spcAft>
                <a:spcPts val="800"/>
              </a:spcAft>
              <a:defRPr lang="en-US" dirty="0" smtClean="0">
                <a:solidFill>
                  <a:schemeClr val="tx1"/>
                </a:solidFill>
              </a:defRPr>
            </a:lvl1pPr>
            <a:lvl2pPr>
              <a:spcBef>
                <a:spcPts val="0"/>
              </a:spcBef>
              <a:spcAft>
                <a:spcPts val="800"/>
              </a:spcAft>
              <a:defRPr lang="en-US" dirty="0">
                <a:solidFill>
                  <a:schemeClr val="tx1"/>
                </a:solidFill>
              </a:defRPr>
            </a:lvl2pPr>
            <a:lvl3pPr>
              <a:spcBef>
                <a:spcPts val="0"/>
              </a:spcBef>
              <a:spcAft>
                <a:spcPts val="800"/>
              </a:spcAft>
              <a:defRPr lang="en-US" dirty="0">
                <a:solidFill>
                  <a:schemeClr val="tx1"/>
                </a:solidFill>
              </a:defRPr>
            </a:lvl3pPr>
            <a:lvl4pPr>
              <a:defRPr lang="en-US" sz="1200" b="1" dirty="0">
                <a:solidFill>
                  <a:schemeClr val="tx1"/>
                </a:solidFill>
                <a:latin typeface="+mj-lt"/>
              </a:defRPr>
            </a:lvl4pPr>
            <a:lvl5pPr marL="0" marR="0" indent="0" algn="l" defTabSz="1088776" rtl="0" eaLnBrk="1" fontAlgn="auto" latinLnBrk="0" hangingPunct="1">
              <a:lnSpc>
                <a:spcPct val="100000"/>
              </a:lnSpc>
              <a:spcBef>
                <a:spcPts val="0"/>
              </a:spcBef>
              <a:spcAft>
                <a:spcPts val="800"/>
              </a:spcAft>
              <a:buClrTx/>
              <a:buSzTx/>
              <a:buFont typeface="Arial" pitchFamily="34" charset="0"/>
              <a:buNone/>
              <a:tabLst/>
              <a:defRPr lang="en-US" sz="1100" dirty="0" smtClean="0">
                <a:solidFill>
                  <a:schemeClr val="tx1"/>
                </a:solidFill>
              </a:defRPr>
            </a:lvl5pPr>
            <a:lvl6pPr>
              <a:defRPr lang="en-US" sz="1000" dirty="0" smtClean="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3" name="Footer Placeholder 2">
            <a:extLst>
              <a:ext uri="{FF2B5EF4-FFF2-40B4-BE49-F238E27FC236}">
                <a16:creationId xmlns:a16="http://schemas.microsoft.com/office/drawing/2014/main" id="{5722E3DE-41AC-2CAA-F0E3-BEAD3F268656}"/>
              </a:ext>
            </a:extLst>
          </p:cNvPr>
          <p:cNvSpPr>
            <a:spLocks noGrp="1"/>
          </p:cNvSpPr>
          <p:nvPr>
            <p:ph type="ftr" sz="quarter" idx="47"/>
          </p:nvPr>
        </p:nvSpPr>
        <p:spPr/>
        <p:txBody>
          <a:bodyPr/>
          <a:lstStyle/>
          <a:p>
            <a:endParaRPr lang="en-AU"/>
          </a:p>
        </p:txBody>
      </p:sp>
    </p:spTree>
    <p:extLst>
      <p:ext uri="{BB962C8B-B14F-4D97-AF65-F5344CB8AC3E}">
        <p14:creationId xmlns:p14="http://schemas.microsoft.com/office/powerpoint/2010/main" val="242182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eature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DFBC9D1-8FA7-35C4-6BAF-B348B2237BD6}"/>
              </a:ext>
            </a:extLst>
          </p:cNvPr>
          <p:cNvSpPr>
            <a:spLocks noGrp="1"/>
          </p:cNvSpPr>
          <p:nvPr>
            <p:ph type="pic" sz="quarter" idx="19"/>
          </p:nvPr>
        </p:nvSpPr>
        <p:spPr>
          <a:xfrm>
            <a:off x="696913" y="549275"/>
            <a:ext cx="10801350" cy="5643382"/>
          </a:xfrm>
          <a:solidFill>
            <a:schemeClr val="bg1">
              <a:lumMod val="95000"/>
            </a:schemeClr>
          </a:solidFill>
        </p:spPr>
        <p:txBody>
          <a:bodyPr bIns="900000" anchor="ctr">
            <a:noAutofit/>
          </a:bodyPr>
          <a:lstStyle>
            <a:lvl1pPr algn="ctr">
              <a:defRPr sz="1400" b="0">
                <a:latin typeface="+mn-lt"/>
              </a:defRPr>
            </a:lvl1pPr>
          </a:lstStyle>
          <a:p>
            <a:r>
              <a:rPr lang="en-US"/>
              <a:t>Click icon to add picture</a:t>
            </a:r>
            <a:endParaRPr lang="en-AU"/>
          </a:p>
        </p:txBody>
      </p:sp>
      <p:sp>
        <p:nvSpPr>
          <p:cNvPr id="19" name="Text Placeholder 2">
            <a:extLst>
              <a:ext uri="{FF2B5EF4-FFF2-40B4-BE49-F238E27FC236}">
                <a16:creationId xmlns:a16="http://schemas.microsoft.com/office/drawing/2014/main" id="{B2D1F40B-C92D-D932-47FF-66028CCC1706}"/>
              </a:ext>
            </a:extLst>
          </p:cNvPr>
          <p:cNvSpPr>
            <a:spLocks noGrp="1"/>
          </p:cNvSpPr>
          <p:nvPr>
            <p:ph type="body" idx="18"/>
          </p:nvPr>
        </p:nvSpPr>
        <p:spPr>
          <a:xfrm>
            <a:off x="696914" y="1067435"/>
            <a:ext cx="10801273" cy="1345114"/>
          </a:xfrm>
          <a:noFill/>
        </p:spPr>
        <p:txBody>
          <a:bodyPr lIns="144000" tIns="0" rIns="144000" bIns="0" numCol="1" spcCol="0" anchor="t">
            <a:noAutofit/>
          </a:bodyPr>
          <a:lstStyle>
            <a:lvl1pPr marL="0" indent="0" algn="ctr">
              <a:spcAft>
                <a:spcPts val="1000"/>
              </a:spcAft>
              <a:buNone/>
              <a:defRPr lang="en-US" sz="4000" b="0" dirty="0" smtClean="0">
                <a:solidFill>
                  <a:schemeClr val="tx1"/>
                </a:solidFill>
                <a:latin typeface="+mj-lt"/>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11" name="Rectangle 10">
            <a:extLst>
              <a:ext uri="{FF2B5EF4-FFF2-40B4-BE49-F238E27FC236}">
                <a16:creationId xmlns:a16="http://schemas.microsoft.com/office/drawing/2014/main" id="{DC9C357C-5992-2334-E81A-9026BB26D9DB}"/>
              </a:ext>
            </a:extLst>
          </p:cNvPr>
          <p:cNvSpPr/>
          <p:nvPr userDrawn="1"/>
        </p:nvSpPr>
        <p:spPr>
          <a:xfrm>
            <a:off x="696913" y="6192657"/>
            <a:ext cx="10801350" cy="811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16" name="Slide Number Placeholder 15">
            <a:extLst>
              <a:ext uri="{FF2B5EF4-FFF2-40B4-BE49-F238E27FC236}">
                <a16:creationId xmlns:a16="http://schemas.microsoft.com/office/drawing/2014/main" id="{3B040E96-3EBD-A170-8E86-924385963058}"/>
              </a:ext>
            </a:extLst>
          </p:cNvPr>
          <p:cNvSpPr>
            <a:spLocks noGrp="1"/>
          </p:cNvSpPr>
          <p:nvPr>
            <p:ph type="sldNum" sz="quarter" idx="21"/>
          </p:nvPr>
        </p:nvSpPr>
        <p:spPr/>
        <p:txBody>
          <a:bodyPr/>
          <a:lstStyle/>
          <a:p>
            <a:fld id="{E917DE0E-AFB1-41FD-BC35-27DB61CA125F}" type="slidenum">
              <a:rPr lang="en-AU" smtClean="0"/>
              <a:pPr/>
              <a:t>‹#›</a:t>
            </a:fld>
            <a:endParaRPr lang="en-AU"/>
          </a:p>
        </p:txBody>
      </p:sp>
      <p:sp>
        <p:nvSpPr>
          <p:cNvPr id="2" name="Freeform 5">
            <a:extLst>
              <a:ext uri="{FF2B5EF4-FFF2-40B4-BE49-F238E27FC236}">
                <a16:creationId xmlns:a16="http://schemas.microsoft.com/office/drawing/2014/main" id="{481771AB-3CEF-A814-8B4C-82B16E78E183}"/>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3" name="Straight Connector 2">
            <a:extLst>
              <a:ext uri="{FF2B5EF4-FFF2-40B4-BE49-F238E27FC236}">
                <a16:creationId xmlns:a16="http://schemas.microsoft.com/office/drawing/2014/main" id="{5C9264B5-9DC7-E0C4-9D40-85C063153989}"/>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6E652D37-4EB9-D77D-D0D4-A091AF70319A}"/>
              </a:ext>
            </a:extLst>
          </p:cNvPr>
          <p:cNvSpPr>
            <a:spLocks noGrp="1"/>
          </p:cNvSpPr>
          <p:nvPr>
            <p:ph type="ftr" sz="quarter" idx="22"/>
          </p:nvPr>
        </p:nvSpPr>
        <p:spPr/>
        <p:txBody>
          <a:bodyPr/>
          <a:lstStyle/>
          <a:p>
            <a:endParaRPr lang="en-AU"/>
          </a:p>
        </p:txBody>
      </p:sp>
    </p:spTree>
    <p:extLst>
      <p:ext uri="{BB962C8B-B14F-4D97-AF65-F5344CB8AC3E}">
        <p14:creationId xmlns:p14="http://schemas.microsoft.com/office/powerpoint/2010/main" val="2071240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
    <p:bg>
      <p:bgPr>
        <a:solidFill>
          <a:schemeClr val="bg1">
            <a:lumMod val="95000"/>
          </a:schemeClr>
        </a:solidFill>
        <a:effectLst/>
      </p:bgPr>
    </p:bg>
    <p:spTree>
      <p:nvGrpSpPr>
        <p:cNvPr id="1" name=""/>
        <p:cNvGrpSpPr/>
        <p:nvPr/>
      </p:nvGrpSpPr>
      <p:grpSpPr>
        <a:xfrm>
          <a:off x="0" y="0"/>
          <a:ext cx="0" cy="0"/>
          <a:chOff x="0" y="0"/>
          <a:chExt cx="0" cy="0"/>
        </a:xfrm>
      </p:grpSpPr>
      <p:sp>
        <p:nvSpPr>
          <p:cNvPr id="13" name="직사각형 5">
            <a:extLst>
              <a:ext uri="{FF2B5EF4-FFF2-40B4-BE49-F238E27FC236}">
                <a16:creationId xmlns:a16="http://schemas.microsoft.com/office/drawing/2014/main" id="{966C1EE9-6CD0-AD59-51ED-EE42476BC3D2}"/>
              </a:ext>
            </a:extLst>
          </p:cNvPr>
          <p:cNvSpPr/>
          <p:nvPr userDrawn="1"/>
        </p:nvSpPr>
        <p:spPr>
          <a:xfrm>
            <a:off x="-1" y="0"/>
            <a:ext cx="12195175" cy="2491581"/>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ko-KR" altLang="en-US"/>
          </a:p>
        </p:txBody>
      </p:sp>
      <p:sp>
        <p:nvSpPr>
          <p:cNvPr id="19" name="Text Placeholder 2">
            <a:extLst>
              <a:ext uri="{FF2B5EF4-FFF2-40B4-BE49-F238E27FC236}">
                <a16:creationId xmlns:a16="http://schemas.microsoft.com/office/drawing/2014/main" id="{B2D1F40B-C92D-D932-47FF-66028CCC1706}"/>
              </a:ext>
            </a:extLst>
          </p:cNvPr>
          <p:cNvSpPr>
            <a:spLocks noGrp="1"/>
          </p:cNvSpPr>
          <p:nvPr>
            <p:ph type="body" idx="18"/>
          </p:nvPr>
        </p:nvSpPr>
        <p:spPr>
          <a:xfrm>
            <a:off x="696913" y="558705"/>
            <a:ext cx="10801350" cy="629474"/>
          </a:xfrm>
          <a:noFill/>
        </p:spPr>
        <p:txBody>
          <a:bodyPr lIns="144000" tIns="0" rIns="144000" bIns="0" numCol="1" spcCol="0" anchor="t">
            <a:noAutofit/>
          </a:bodyPr>
          <a:lstStyle>
            <a:lvl1pPr marL="0" indent="0" algn="ctr">
              <a:spcAft>
                <a:spcPts val="1000"/>
              </a:spcAft>
              <a:buNone/>
              <a:defRPr lang="en-US" sz="4000" b="0" cap="all" baseline="0" dirty="0" smtClean="0">
                <a:solidFill>
                  <a:schemeClr val="tx1"/>
                </a:solidFill>
                <a:latin typeface="+mj-lt"/>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7" name="Text Placeholder 2">
            <a:extLst>
              <a:ext uri="{FF2B5EF4-FFF2-40B4-BE49-F238E27FC236}">
                <a16:creationId xmlns:a16="http://schemas.microsoft.com/office/drawing/2014/main" id="{CFEAEC98-D026-57AF-759D-04208A382ABE}"/>
              </a:ext>
            </a:extLst>
          </p:cNvPr>
          <p:cNvSpPr>
            <a:spLocks noGrp="1"/>
          </p:cNvSpPr>
          <p:nvPr>
            <p:ph type="body" idx="19"/>
          </p:nvPr>
        </p:nvSpPr>
        <p:spPr>
          <a:xfrm>
            <a:off x="696913" y="1342670"/>
            <a:ext cx="10801350" cy="251898"/>
          </a:xfrm>
          <a:noFill/>
        </p:spPr>
        <p:txBody>
          <a:bodyPr lIns="144000" tIns="0" rIns="144000" bIns="0" numCol="1" spcCol="0" anchor="t">
            <a:noAutofit/>
          </a:bodyPr>
          <a:lstStyle>
            <a:lvl1pPr marL="0" indent="0" algn="ctr">
              <a:spcAft>
                <a:spcPts val="1000"/>
              </a:spcAft>
              <a:buNone/>
              <a:defRPr lang="en-US" sz="1800" b="0" cap="none" baseline="0" dirty="0" smtClean="0">
                <a:solidFill>
                  <a:schemeClr val="tx1"/>
                </a:solidFill>
                <a:latin typeface="Bahnschrift"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10" name="Text Placeholder 2">
            <a:extLst>
              <a:ext uri="{FF2B5EF4-FFF2-40B4-BE49-F238E27FC236}">
                <a16:creationId xmlns:a16="http://schemas.microsoft.com/office/drawing/2014/main" id="{57BA8DCC-0CC5-DDB0-F98B-5B4D72E58704}"/>
              </a:ext>
            </a:extLst>
          </p:cNvPr>
          <p:cNvSpPr>
            <a:spLocks noGrp="1"/>
          </p:cNvSpPr>
          <p:nvPr>
            <p:ph type="body" idx="22" hasCustomPrompt="1"/>
          </p:nvPr>
        </p:nvSpPr>
        <p:spPr>
          <a:xfrm>
            <a:off x="707136" y="2834640"/>
            <a:ext cx="1724139" cy="384048"/>
          </a:xfrm>
          <a:noFill/>
        </p:spPr>
        <p:txBody>
          <a:bodyPr lIns="144000" tIns="0" rIns="144000" bIns="0" numCol="1" spcCol="0" anchor="t">
            <a:noAutofit/>
          </a:bodyPr>
          <a:lstStyle>
            <a:lvl1pPr marL="0" indent="0" algn="ctr">
              <a:lnSpc>
                <a:spcPct val="110000"/>
              </a:lnSpc>
              <a:spcAft>
                <a:spcPts val="800"/>
              </a:spcAft>
              <a:buNone/>
              <a:defRPr lang="en-US" sz="28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17" name="Text Placeholder 2">
            <a:extLst>
              <a:ext uri="{FF2B5EF4-FFF2-40B4-BE49-F238E27FC236}">
                <a16:creationId xmlns:a16="http://schemas.microsoft.com/office/drawing/2014/main" id="{258A6601-A77F-244B-D3B0-7C0B9A8C8F58}"/>
              </a:ext>
            </a:extLst>
          </p:cNvPr>
          <p:cNvSpPr>
            <a:spLocks noGrp="1"/>
          </p:cNvSpPr>
          <p:nvPr>
            <p:ph type="body" idx="25" hasCustomPrompt="1"/>
          </p:nvPr>
        </p:nvSpPr>
        <p:spPr>
          <a:xfrm>
            <a:off x="2519130" y="2834640"/>
            <a:ext cx="1724139" cy="384048"/>
          </a:xfrm>
          <a:noFill/>
        </p:spPr>
        <p:txBody>
          <a:bodyPr lIns="144000" tIns="0" rIns="144000" bIns="0" numCol="1" spcCol="0" anchor="t">
            <a:noAutofit/>
          </a:bodyPr>
          <a:lstStyle>
            <a:lvl1pPr marL="0" indent="0" algn="ctr">
              <a:lnSpc>
                <a:spcPct val="110000"/>
              </a:lnSpc>
              <a:spcAft>
                <a:spcPts val="800"/>
              </a:spcAft>
              <a:buNone/>
              <a:defRPr lang="en-US" sz="28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21" name="Text Placeholder 2">
            <a:extLst>
              <a:ext uri="{FF2B5EF4-FFF2-40B4-BE49-F238E27FC236}">
                <a16:creationId xmlns:a16="http://schemas.microsoft.com/office/drawing/2014/main" id="{CF5A0A69-F319-BC98-F109-52704EA517A7}"/>
              </a:ext>
            </a:extLst>
          </p:cNvPr>
          <p:cNvSpPr>
            <a:spLocks noGrp="1"/>
          </p:cNvSpPr>
          <p:nvPr>
            <p:ph type="body" idx="28" hasCustomPrompt="1"/>
          </p:nvPr>
        </p:nvSpPr>
        <p:spPr>
          <a:xfrm>
            <a:off x="4331124" y="2834640"/>
            <a:ext cx="1724139" cy="384048"/>
          </a:xfrm>
          <a:noFill/>
        </p:spPr>
        <p:txBody>
          <a:bodyPr lIns="144000" tIns="0" rIns="144000" bIns="0" numCol="1" spcCol="0" anchor="t">
            <a:noAutofit/>
          </a:bodyPr>
          <a:lstStyle>
            <a:lvl1pPr marL="0" indent="0" algn="ctr">
              <a:lnSpc>
                <a:spcPct val="110000"/>
              </a:lnSpc>
              <a:spcAft>
                <a:spcPts val="800"/>
              </a:spcAft>
              <a:buNone/>
              <a:defRPr lang="en-US" sz="28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24" name="Text Placeholder 2">
            <a:extLst>
              <a:ext uri="{FF2B5EF4-FFF2-40B4-BE49-F238E27FC236}">
                <a16:creationId xmlns:a16="http://schemas.microsoft.com/office/drawing/2014/main" id="{4A6D0BF3-DA6E-29B0-466B-1A2E229B4064}"/>
              </a:ext>
            </a:extLst>
          </p:cNvPr>
          <p:cNvSpPr>
            <a:spLocks noGrp="1"/>
          </p:cNvSpPr>
          <p:nvPr>
            <p:ph type="body" idx="31" hasCustomPrompt="1"/>
          </p:nvPr>
        </p:nvSpPr>
        <p:spPr>
          <a:xfrm>
            <a:off x="6143118" y="2834640"/>
            <a:ext cx="1724139" cy="384048"/>
          </a:xfrm>
          <a:noFill/>
        </p:spPr>
        <p:txBody>
          <a:bodyPr lIns="144000" tIns="0" rIns="144000" bIns="0" numCol="1" spcCol="0" anchor="t">
            <a:noAutofit/>
          </a:bodyPr>
          <a:lstStyle>
            <a:lvl1pPr marL="0" indent="0" algn="ctr">
              <a:lnSpc>
                <a:spcPct val="110000"/>
              </a:lnSpc>
              <a:spcAft>
                <a:spcPts val="800"/>
              </a:spcAft>
              <a:buNone/>
              <a:defRPr lang="en-US" sz="28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27" name="Text Placeholder 2">
            <a:extLst>
              <a:ext uri="{FF2B5EF4-FFF2-40B4-BE49-F238E27FC236}">
                <a16:creationId xmlns:a16="http://schemas.microsoft.com/office/drawing/2014/main" id="{FCC2D6D1-05D7-CAFC-68DF-2CDDC66F67FA}"/>
              </a:ext>
            </a:extLst>
          </p:cNvPr>
          <p:cNvSpPr>
            <a:spLocks noGrp="1"/>
          </p:cNvSpPr>
          <p:nvPr>
            <p:ph type="body" idx="34" hasCustomPrompt="1"/>
          </p:nvPr>
        </p:nvSpPr>
        <p:spPr>
          <a:xfrm>
            <a:off x="7955112" y="2834640"/>
            <a:ext cx="1724139" cy="384048"/>
          </a:xfrm>
          <a:noFill/>
        </p:spPr>
        <p:txBody>
          <a:bodyPr lIns="144000" tIns="0" rIns="144000" bIns="0" numCol="1" spcCol="0" anchor="t">
            <a:noAutofit/>
          </a:bodyPr>
          <a:lstStyle>
            <a:lvl1pPr marL="0" indent="0" algn="ctr">
              <a:lnSpc>
                <a:spcPct val="110000"/>
              </a:lnSpc>
              <a:spcAft>
                <a:spcPts val="800"/>
              </a:spcAft>
              <a:buNone/>
              <a:defRPr lang="en-US" sz="28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30" name="Text Placeholder 2">
            <a:extLst>
              <a:ext uri="{FF2B5EF4-FFF2-40B4-BE49-F238E27FC236}">
                <a16:creationId xmlns:a16="http://schemas.microsoft.com/office/drawing/2014/main" id="{5813B4B4-772C-584E-24C5-25BACA2D45F0}"/>
              </a:ext>
            </a:extLst>
          </p:cNvPr>
          <p:cNvSpPr>
            <a:spLocks noGrp="1"/>
          </p:cNvSpPr>
          <p:nvPr>
            <p:ph type="body" idx="37" hasCustomPrompt="1"/>
          </p:nvPr>
        </p:nvSpPr>
        <p:spPr>
          <a:xfrm>
            <a:off x="9767107" y="2834640"/>
            <a:ext cx="1724139" cy="384048"/>
          </a:xfrm>
          <a:noFill/>
        </p:spPr>
        <p:txBody>
          <a:bodyPr lIns="144000" tIns="0" rIns="144000" bIns="0" numCol="1" spcCol="0" anchor="t">
            <a:noAutofit/>
          </a:bodyPr>
          <a:lstStyle>
            <a:lvl1pPr marL="0" indent="0" algn="ctr">
              <a:lnSpc>
                <a:spcPct val="110000"/>
              </a:lnSpc>
              <a:spcAft>
                <a:spcPts val="800"/>
              </a:spcAft>
              <a:buNone/>
              <a:defRPr lang="en-US" sz="28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44" name="Slide Number Placeholder 43">
            <a:extLst>
              <a:ext uri="{FF2B5EF4-FFF2-40B4-BE49-F238E27FC236}">
                <a16:creationId xmlns:a16="http://schemas.microsoft.com/office/drawing/2014/main" id="{B3E8A5B7-4137-44B9-ECC9-D6D4F37F393C}"/>
              </a:ext>
            </a:extLst>
          </p:cNvPr>
          <p:cNvSpPr>
            <a:spLocks noGrp="1"/>
          </p:cNvSpPr>
          <p:nvPr>
            <p:ph type="sldNum" sz="quarter" idx="39"/>
          </p:nvPr>
        </p:nvSpPr>
        <p:spPr/>
        <p:txBody>
          <a:bodyPr/>
          <a:lstStyle/>
          <a:p>
            <a:fld id="{E917DE0E-AFB1-41FD-BC35-27DB61CA125F}" type="slidenum">
              <a:rPr lang="en-AU" smtClean="0"/>
              <a:pPr/>
              <a:t>‹#›</a:t>
            </a:fld>
            <a:endParaRPr lang="en-AU"/>
          </a:p>
        </p:txBody>
      </p:sp>
      <p:sp>
        <p:nvSpPr>
          <p:cNvPr id="2" name="Content Placeholder 3">
            <a:extLst>
              <a:ext uri="{FF2B5EF4-FFF2-40B4-BE49-F238E27FC236}">
                <a16:creationId xmlns:a16="http://schemas.microsoft.com/office/drawing/2014/main" id="{54039277-1959-A1D0-B260-F0E296C74BB1}"/>
              </a:ext>
            </a:extLst>
          </p:cNvPr>
          <p:cNvSpPr>
            <a:spLocks noGrp="1"/>
          </p:cNvSpPr>
          <p:nvPr>
            <p:ph sz="quarter" idx="17" hasCustomPrompt="1"/>
          </p:nvPr>
        </p:nvSpPr>
        <p:spPr>
          <a:xfrm>
            <a:off x="703929" y="3427603"/>
            <a:ext cx="1724139" cy="2740587"/>
          </a:xfrm>
        </p:spPr>
        <p:txBody>
          <a:bodyPr lIns="108000" rIns="108000" numCol="1" spcCol="0">
            <a:noAutofit/>
          </a:bodyPr>
          <a:lstStyle>
            <a:lvl1pPr algn="ctr">
              <a:defRPr lang="en-US" dirty="0" smtClean="0">
                <a:solidFill>
                  <a:schemeClr val="tx1"/>
                </a:solidFill>
              </a:defRPr>
            </a:lvl1pPr>
            <a:lvl2pPr algn="ctr">
              <a:defRPr lang="en-US" dirty="0">
                <a:solidFill>
                  <a:schemeClr val="tx1"/>
                </a:solidFill>
              </a:defRPr>
            </a:lvl2pPr>
            <a:lvl3pPr algn="ctr">
              <a:defRPr lang="en-US"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100" dirty="0" smtClean="0">
                <a:solidFill>
                  <a:schemeClr val="tx1"/>
                </a:solidFill>
              </a:defRPr>
            </a:lvl5pPr>
            <a:lvl6pPr algn="ctr">
              <a:defRPr lang="en-US" sz="1000" dirty="0" smtClean="0">
                <a:solidFill>
                  <a:schemeClr val="tx1"/>
                </a:solidFill>
              </a:defRPr>
            </a:lvl6pPr>
            <a:lvl7pPr algn="ctr">
              <a:defRPr>
                <a:solidFill>
                  <a:schemeClr val="tx1"/>
                </a:solidFill>
              </a:defRPr>
            </a:lvl7pPr>
            <a:lvl8pPr algn="ctr">
              <a:defRPr>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8" name="Freeform 5">
            <a:extLst>
              <a:ext uri="{FF2B5EF4-FFF2-40B4-BE49-F238E27FC236}">
                <a16:creationId xmlns:a16="http://schemas.microsoft.com/office/drawing/2014/main" id="{C1D5B097-D9EF-8895-EE7C-D35009DAE490}"/>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9" name="Straight Connector 8">
            <a:extLst>
              <a:ext uri="{FF2B5EF4-FFF2-40B4-BE49-F238E27FC236}">
                <a16:creationId xmlns:a16="http://schemas.microsoft.com/office/drawing/2014/main" id="{CCA51CE6-A98B-0A2F-A631-BE3345D87657}"/>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3">
            <a:extLst>
              <a:ext uri="{FF2B5EF4-FFF2-40B4-BE49-F238E27FC236}">
                <a16:creationId xmlns:a16="http://schemas.microsoft.com/office/drawing/2014/main" id="{DD00942D-7CF2-EA8C-A9A0-57D9C66F3730}"/>
              </a:ext>
            </a:extLst>
          </p:cNvPr>
          <p:cNvSpPr>
            <a:spLocks noGrp="1"/>
          </p:cNvSpPr>
          <p:nvPr>
            <p:ph sz="quarter" idx="45" hasCustomPrompt="1"/>
          </p:nvPr>
        </p:nvSpPr>
        <p:spPr>
          <a:xfrm>
            <a:off x="2513958" y="3427603"/>
            <a:ext cx="1724139" cy="2740587"/>
          </a:xfrm>
        </p:spPr>
        <p:txBody>
          <a:bodyPr lIns="108000" rIns="108000" numCol="1" spcCol="0">
            <a:noAutofit/>
          </a:bodyPr>
          <a:lstStyle>
            <a:lvl1pPr algn="ctr">
              <a:defRPr lang="en-US" dirty="0" smtClean="0">
                <a:solidFill>
                  <a:schemeClr val="tx1"/>
                </a:solidFill>
              </a:defRPr>
            </a:lvl1pPr>
            <a:lvl2pPr algn="ctr">
              <a:defRPr lang="en-US" dirty="0">
                <a:solidFill>
                  <a:schemeClr val="tx1"/>
                </a:solidFill>
              </a:defRPr>
            </a:lvl2pPr>
            <a:lvl3pPr algn="ctr">
              <a:defRPr lang="en-US"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100" dirty="0" smtClean="0">
                <a:solidFill>
                  <a:schemeClr val="tx1"/>
                </a:solidFill>
              </a:defRPr>
            </a:lvl5pPr>
            <a:lvl6pPr algn="ctr">
              <a:defRPr lang="en-US" sz="1000" dirty="0" smtClean="0">
                <a:solidFill>
                  <a:schemeClr val="tx1"/>
                </a:solidFill>
              </a:defRPr>
            </a:lvl6pPr>
            <a:lvl7pPr algn="ctr">
              <a:defRPr>
                <a:solidFill>
                  <a:schemeClr val="tx1"/>
                </a:solidFill>
              </a:defRPr>
            </a:lvl7pPr>
            <a:lvl8pPr algn="ctr">
              <a:defRPr>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6" name="Content Placeholder 3">
            <a:extLst>
              <a:ext uri="{FF2B5EF4-FFF2-40B4-BE49-F238E27FC236}">
                <a16:creationId xmlns:a16="http://schemas.microsoft.com/office/drawing/2014/main" id="{ACBC1088-25B1-7F22-7CDF-8D1E451829FE}"/>
              </a:ext>
            </a:extLst>
          </p:cNvPr>
          <p:cNvSpPr>
            <a:spLocks noGrp="1"/>
          </p:cNvSpPr>
          <p:nvPr>
            <p:ph sz="quarter" idx="46" hasCustomPrompt="1"/>
          </p:nvPr>
        </p:nvSpPr>
        <p:spPr>
          <a:xfrm>
            <a:off x="4323987" y="3427603"/>
            <a:ext cx="1724139" cy="2740587"/>
          </a:xfrm>
        </p:spPr>
        <p:txBody>
          <a:bodyPr lIns="108000" rIns="108000" numCol="1" spcCol="0">
            <a:noAutofit/>
          </a:bodyPr>
          <a:lstStyle>
            <a:lvl1pPr algn="ctr">
              <a:defRPr lang="en-US" dirty="0" smtClean="0">
                <a:solidFill>
                  <a:schemeClr val="tx1"/>
                </a:solidFill>
              </a:defRPr>
            </a:lvl1pPr>
            <a:lvl2pPr algn="ctr">
              <a:defRPr lang="en-US" dirty="0">
                <a:solidFill>
                  <a:schemeClr val="tx1"/>
                </a:solidFill>
              </a:defRPr>
            </a:lvl2pPr>
            <a:lvl3pPr algn="ctr">
              <a:defRPr lang="en-US"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100" dirty="0" smtClean="0">
                <a:solidFill>
                  <a:schemeClr val="tx1"/>
                </a:solidFill>
              </a:defRPr>
            </a:lvl5pPr>
            <a:lvl6pPr algn="ctr">
              <a:defRPr lang="en-US" sz="1000" dirty="0" smtClean="0">
                <a:solidFill>
                  <a:schemeClr val="tx1"/>
                </a:solidFill>
              </a:defRPr>
            </a:lvl6pPr>
            <a:lvl7pPr algn="ctr">
              <a:defRPr>
                <a:solidFill>
                  <a:schemeClr val="tx1"/>
                </a:solidFill>
              </a:defRPr>
            </a:lvl7pPr>
            <a:lvl8pPr algn="ctr">
              <a:defRPr>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8" name="Content Placeholder 3">
            <a:extLst>
              <a:ext uri="{FF2B5EF4-FFF2-40B4-BE49-F238E27FC236}">
                <a16:creationId xmlns:a16="http://schemas.microsoft.com/office/drawing/2014/main" id="{22075C85-7D37-B128-5FB3-CCA6567F011F}"/>
              </a:ext>
            </a:extLst>
          </p:cNvPr>
          <p:cNvSpPr>
            <a:spLocks noGrp="1"/>
          </p:cNvSpPr>
          <p:nvPr>
            <p:ph sz="quarter" idx="47" hasCustomPrompt="1"/>
          </p:nvPr>
        </p:nvSpPr>
        <p:spPr>
          <a:xfrm>
            <a:off x="6143118" y="3427603"/>
            <a:ext cx="1724139" cy="2740587"/>
          </a:xfrm>
        </p:spPr>
        <p:txBody>
          <a:bodyPr lIns="108000" rIns="108000" numCol="1" spcCol="0">
            <a:noAutofit/>
          </a:bodyPr>
          <a:lstStyle>
            <a:lvl1pPr algn="ctr">
              <a:defRPr lang="en-US" dirty="0" smtClean="0">
                <a:solidFill>
                  <a:schemeClr val="tx1"/>
                </a:solidFill>
              </a:defRPr>
            </a:lvl1pPr>
            <a:lvl2pPr algn="ctr">
              <a:defRPr lang="en-US" dirty="0">
                <a:solidFill>
                  <a:schemeClr val="tx1"/>
                </a:solidFill>
              </a:defRPr>
            </a:lvl2pPr>
            <a:lvl3pPr algn="ctr">
              <a:defRPr lang="en-US"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100" dirty="0" smtClean="0">
                <a:solidFill>
                  <a:schemeClr val="tx1"/>
                </a:solidFill>
              </a:defRPr>
            </a:lvl5pPr>
            <a:lvl6pPr algn="ctr">
              <a:defRPr lang="en-US" sz="1000" dirty="0" smtClean="0">
                <a:solidFill>
                  <a:schemeClr val="tx1"/>
                </a:solidFill>
              </a:defRPr>
            </a:lvl6pPr>
            <a:lvl7pPr algn="ctr">
              <a:defRPr>
                <a:solidFill>
                  <a:schemeClr val="tx1"/>
                </a:solidFill>
              </a:defRPr>
            </a:lvl7pPr>
            <a:lvl8pPr algn="ctr">
              <a:defRPr>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9" name="Content Placeholder 3">
            <a:extLst>
              <a:ext uri="{FF2B5EF4-FFF2-40B4-BE49-F238E27FC236}">
                <a16:creationId xmlns:a16="http://schemas.microsoft.com/office/drawing/2014/main" id="{7BC73012-8048-6484-6E80-53D394123E9D}"/>
              </a:ext>
            </a:extLst>
          </p:cNvPr>
          <p:cNvSpPr>
            <a:spLocks noGrp="1"/>
          </p:cNvSpPr>
          <p:nvPr>
            <p:ph sz="quarter" idx="48" hasCustomPrompt="1"/>
          </p:nvPr>
        </p:nvSpPr>
        <p:spPr>
          <a:xfrm>
            <a:off x="7962249" y="3427603"/>
            <a:ext cx="1724139" cy="2740587"/>
          </a:xfrm>
        </p:spPr>
        <p:txBody>
          <a:bodyPr lIns="108000" rIns="108000" numCol="1" spcCol="0">
            <a:noAutofit/>
          </a:bodyPr>
          <a:lstStyle>
            <a:lvl1pPr algn="ctr">
              <a:defRPr lang="en-US" dirty="0" smtClean="0">
                <a:solidFill>
                  <a:schemeClr val="tx1"/>
                </a:solidFill>
              </a:defRPr>
            </a:lvl1pPr>
            <a:lvl2pPr algn="ctr">
              <a:defRPr lang="en-US" dirty="0">
                <a:solidFill>
                  <a:schemeClr val="tx1"/>
                </a:solidFill>
              </a:defRPr>
            </a:lvl2pPr>
            <a:lvl3pPr algn="ctr">
              <a:defRPr lang="en-US"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100" dirty="0" smtClean="0">
                <a:solidFill>
                  <a:schemeClr val="tx1"/>
                </a:solidFill>
              </a:defRPr>
            </a:lvl5pPr>
            <a:lvl6pPr algn="ctr">
              <a:defRPr lang="en-US" sz="1000" dirty="0" smtClean="0">
                <a:solidFill>
                  <a:schemeClr val="tx1"/>
                </a:solidFill>
              </a:defRPr>
            </a:lvl6pPr>
            <a:lvl7pPr algn="ctr">
              <a:defRPr>
                <a:solidFill>
                  <a:schemeClr val="tx1"/>
                </a:solidFill>
              </a:defRPr>
            </a:lvl7pPr>
            <a:lvl8pPr algn="ctr">
              <a:defRPr>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31" name="Content Placeholder 3">
            <a:extLst>
              <a:ext uri="{FF2B5EF4-FFF2-40B4-BE49-F238E27FC236}">
                <a16:creationId xmlns:a16="http://schemas.microsoft.com/office/drawing/2014/main" id="{55EA7A8A-C515-4879-A280-4B4D08C8EDA6}"/>
              </a:ext>
            </a:extLst>
          </p:cNvPr>
          <p:cNvSpPr>
            <a:spLocks noGrp="1"/>
          </p:cNvSpPr>
          <p:nvPr>
            <p:ph sz="quarter" idx="49" hasCustomPrompt="1"/>
          </p:nvPr>
        </p:nvSpPr>
        <p:spPr>
          <a:xfrm>
            <a:off x="9767106" y="3427603"/>
            <a:ext cx="1724139" cy="2740587"/>
          </a:xfrm>
        </p:spPr>
        <p:txBody>
          <a:bodyPr lIns="108000" rIns="108000" numCol="1" spcCol="0">
            <a:noAutofit/>
          </a:bodyPr>
          <a:lstStyle>
            <a:lvl1pPr algn="ctr">
              <a:defRPr lang="en-US" dirty="0" smtClean="0">
                <a:solidFill>
                  <a:schemeClr val="tx1"/>
                </a:solidFill>
              </a:defRPr>
            </a:lvl1pPr>
            <a:lvl2pPr algn="ctr">
              <a:defRPr lang="en-US" dirty="0">
                <a:solidFill>
                  <a:schemeClr val="tx1"/>
                </a:solidFill>
              </a:defRPr>
            </a:lvl2pPr>
            <a:lvl3pPr algn="ctr">
              <a:defRPr lang="en-US"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100" dirty="0" smtClean="0">
                <a:solidFill>
                  <a:schemeClr val="tx1"/>
                </a:solidFill>
              </a:defRPr>
            </a:lvl5pPr>
            <a:lvl6pPr algn="ctr">
              <a:defRPr lang="en-US" sz="1000" dirty="0" smtClean="0">
                <a:solidFill>
                  <a:schemeClr val="tx1"/>
                </a:solidFill>
              </a:defRPr>
            </a:lvl6pPr>
            <a:lvl7pPr algn="ctr">
              <a:defRPr>
                <a:solidFill>
                  <a:schemeClr val="tx1"/>
                </a:solidFill>
              </a:defRPr>
            </a:lvl7pPr>
            <a:lvl8pPr algn="ctr">
              <a:defRPr>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3" name="TextBox 2" descr="InstructionsBox">
            <a:extLst>
              <a:ext uri="{FF2B5EF4-FFF2-40B4-BE49-F238E27FC236}">
                <a16:creationId xmlns:a16="http://schemas.microsoft.com/office/drawing/2014/main" id="{D5390EE0-2D8B-9CD9-902E-45A6E310A25B}"/>
              </a:ext>
            </a:extLst>
          </p:cNvPr>
          <p:cNvSpPr txBox="1"/>
          <p:nvPr userDrawn="1"/>
        </p:nvSpPr>
        <p:spPr>
          <a:xfrm>
            <a:off x="2" y="-1954847"/>
            <a:ext cx="9012162" cy="1900103"/>
          </a:xfrm>
          <a:prstGeom prst="rect">
            <a:avLst/>
          </a:prstGeom>
          <a:solidFill>
            <a:schemeClr val="accent1"/>
          </a:solidFill>
        </p:spPr>
        <p:txBody>
          <a:bodyPr wrap="square" rtlCol="0">
            <a:noAutofit/>
          </a:bodyPr>
          <a:lstStyle/>
          <a:p>
            <a:r>
              <a:rPr lang="en-AU" sz="1400">
                <a:solidFill>
                  <a:schemeClr val="bg1"/>
                </a:solidFill>
              </a:rPr>
              <a:t>For this slide design, you can change the grey box’s colour by right-clicking </a:t>
            </a:r>
            <a:br>
              <a:rPr lang="en-AU" sz="1400">
                <a:solidFill>
                  <a:schemeClr val="bg1"/>
                </a:solidFill>
              </a:rPr>
            </a:br>
            <a:r>
              <a:rPr lang="en-AU" sz="1400">
                <a:solidFill>
                  <a:schemeClr val="bg1"/>
                </a:solidFill>
              </a:rPr>
              <a:t>somewhere on the slide, not in a content placeholder.</a:t>
            </a:r>
          </a:p>
          <a:p>
            <a:r>
              <a:rPr lang="en-US" sz="1400">
                <a:solidFill>
                  <a:schemeClr val="bg1"/>
                </a:solidFill>
              </a:rPr>
              <a:t>‘Format Background</a:t>
            </a:r>
          </a:p>
          <a:p>
            <a:r>
              <a:rPr lang="en-US" sz="1400">
                <a:solidFill>
                  <a:schemeClr val="bg1"/>
                </a:solidFill>
              </a:rPr>
              <a:t>Under the ‘Fill’ menu, ‘Solid fill’ is already selected</a:t>
            </a:r>
          </a:p>
          <a:p>
            <a:r>
              <a:rPr lang="en-US" sz="1400">
                <a:solidFill>
                  <a:schemeClr val="bg1"/>
                </a:solidFill>
              </a:rPr>
              <a:t>Go to the paint bucket button and select another </a:t>
            </a:r>
            <a:r>
              <a:rPr lang="en-US" sz="1400" err="1">
                <a:solidFill>
                  <a:schemeClr val="bg1"/>
                </a:solidFill>
              </a:rPr>
              <a:t>colour</a:t>
            </a:r>
            <a:endParaRPr lang="en-US" sz="1400">
              <a:solidFill>
                <a:schemeClr val="bg1"/>
              </a:solidFill>
            </a:endParaRPr>
          </a:p>
        </p:txBody>
      </p:sp>
      <p:sp>
        <p:nvSpPr>
          <p:cNvPr id="4" name="Footer Placeholder 3">
            <a:extLst>
              <a:ext uri="{FF2B5EF4-FFF2-40B4-BE49-F238E27FC236}">
                <a16:creationId xmlns:a16="http://schemas.microsoft.com/office/drawing/2014/main" id="{7A15637B-496C-7879-4650-8385A77086CA}"/>
              </a:ext>
            </a:extLst>
          </p:cNvPr>
          <p:cNvSpPr>
            <a:spLocks noGrp="1"/>
          </p:cNvSpPr>
          <p:nvPr>
            <p:ph type="ftr" sz="quarter" idx="50"/>
          </p:nvPr>
        </p:nvSpPr>
        <p:spPr/>
        <p:txBody>
          <a:bodyPr/>
          <a:lstStyle/>
          <a:p>
            <a:endParaRPr lang="en-AU"/>
          </a:p>
        </p:txBody>
      </p:sp>
    </p:spTree>
    <p:extLst>
      <p:ext uri="{BB962C8B-B14F-4D97-AF65-F5344CB8AC3E}">
        <p14:creationId xmlns:p14="http://schemas.microsoft.com/office/powerpoint/2010/main" val="91420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4" name="타원 10">
            <a:extLst>
              <a:ext uri="{FF2B5EF4-FFF2-40B4-BE49-F238E27FC236}">
                <a16:creationId xmlns:a16="http://schemas.microsoft.com/office/drawing/2014/main" id="{5CC2792B-8950-D21E-005E-FC1A1C2FDCF2}"/>
              </a:ext>
            </a:extLst>
          </p:cNvPr>
          <p:cNvSpPr/>
          <p:nvPr userDrawn="1"/>
        </p:nvSpPr>
        <p:spPr>
          <a:xfrm>
            <a:off x="1014981" y="3802117"/>
            <a:ext cx="1124400" cy="1124400"/>
          </a:xfrm>
          <a:prstGeom prst="ellipse">
            <a:avLst/>
          </a:prstGeom>
          <a:noFill/>
          <a:ln w="63500" cap="flat">
            <a:solidFill>
              <a:schemeClr val="bg2"/>
            </a:solidFill>
            <a:prstDash val="solid"/>
            <a:miter/>
          </a:ln>
        </p:spPr>
        <p:txBody>
          <a:bodyPr rtlCol="0" anchor="ctr">
            <a:noAutofit/>
          </a:bodyPr>
          <a:lstStyle/>
          <a:p>
            <a:pPr algn="l"/>
            <a:endParaRPr lang="ko-KR" altLang="en-US"/>
          </a:p>
        </p:txBody>
      </p:sp>
      <p:sp>
        <p:nvSpPr>
          <p:cNvPr id="5" name="타원 10">
            <a:extLst>
              <a:ext uri="{FF2B5EF4-FFF2-40B4-BE49-F238E27FC236}">
                <a16:creationId xmlns:a16="http://schemas.microsoft.com/office/drawing/2014/main" id="{045C0152-BC1E-7E3D-5BD2-EDCB9E1D8E60}"/>
              </a:ext>
            </a:extLst>
          </p:cNvPr>
          <p:cNvSpPr/>
          <p:nvPr userDrawn="1"/>
        </p:nvSpPr>
        <p:spPr>
          <a:xfrm>
            <a:off x="2833469" y="4605199"/>
            <a:ext cx="1124400" cy="1124400"/>
          </a:xfrm>
          <a:prstGeom prst="ellipse">
            <a:avLst/>
          </a:prstGeom>
          <a:noFill/>
          <a:ln w="63500" cap="flat">
            <a:solidFill>
              <a:schemeClr val="bg2"/>
            </a:solidFill>
            <a:prstDash val="solid"/>
            <a:miter/>
          </a:ln>
        </p:spPr>
        <p:txBody>
          <a:bodyPr rtlCol="0" anchor="ctr">
            <a:noAutofit/>
          </a:bodyPr>
          <a:lstStyle/>
          <a:p>
            <a:pPr algn="l"/>
            <a:endParaRPr lang="ko-KR" altLang="en-US"/>
          </a:p>
        </p:txBody>
      </p:sp>
      <p:sp>
        <p:nvSpPr>
          <p:cNvPr id="8" name="타원 10">
            <a:extLst>
              <a:ext uri="{FF2B5EF4-FFF2-40B4-BE49-F238E27FC236}">
                <a16:creationId xmlns:a16="http://schemas.microsoft.com/office/drawing/2014/main" id="{27FF2864-AA0F-E34D-B4F0-3A23A26139A0}"/>
              </a:ext>
            </a:extLst>
          </p:cNvPr>
          <p:cNvSpPr/>
          <p:nvPr userDrawn="1"/>
        </p:nvSpPr>
        <p:spPr>
          <a:xfrm>
            <a:off x="4637993" y="3802117"/>
            <a:ext cx="1124400" cy="1124400"/>
          </a:xfrm>
          <a:prstGeom prst="ellipse">
            <a:avLst/>
          </a:prstGeom>
          <a:noFill/>
          <a:ln w="63500" cap="flat">
            <a:solidFill>
              <a:schemeClr val="bg2"/>
            </a:solidFill>
            <a:prstDash val="solid"/>
            <a:miter/>
          </a:ln>
        </p:spPr>
        <p:txBody>
          <a:bodyPr rtlCol="0" anchor="ctr">
            <a:noAutofit/>
          </a:bodyPr>
          <a:lstStyle/>
          <a:p>
            <a:pPr algn="l"/>
            <a:endParaRPr lang="ko-KR" altLang="en-US"/>
          </a:p>
        </p:txBody>
      </p:sp>
      <p:sp>
        <p:nvSpPr>
          <p:cNvPr id="9" name="타원 10">
            <a:extLst>
              <a:ext uri="{FF2B5EF4-FFF2-40B4-BE49-F238E27FC236}">
                <a16:creationId xmlns:a16="http://schemas.microsoft.com/office/drawing/2014/main" id="{15F43101-EC8D-77AB-0E87-CC0F2F746DEC}"/>
              </a:ext>
            </a:extLst>
          </p:cNvPr>
          <p:cNvSpPr/>
          <p:nvPr userDrawn="1"/>
        </p:nvSpPr>
        <p:spPr>
          <a:xfrm>
            <a:off x="6429608" y="4605199"/>
            <a:ext cx="1124400" cy="1124400"/>
          </a:xfrm>
          <a:prstGeom prst="ellipse">
            <a:avLst/>
          </a:prstGeom>
          <a:noFill/>
          <a:ln w="63500" cap="flat">
            <a:solidFill>
              <a:schemeClr val="bg2"/>
            </a:solidFill>
            <a:prstDash val="solid"/>
            <a:miter/>
          </a:ln>
        </p:spPr>
        <p:txBody>
          <a:bodyPr rtlCol="0" anchor="ctr">
            <a:noAutofit/>
          </a:bodyPr>
          <a:lstStyle/>
          <a:p>
            <a:pPr algn="l"/>
            <a:endParaRPr lang="ko-KR" altLang="en-US"/>
          </a:p>
        </p:txBody>
      </p:sp>
      <p:sp>
        <p:nvSpPr>
          <p:cNvPr id="16" name="타원 10">
            <a:extLst>
              <a:ext uri="{FF2B5EF4-FFF2-40B4-BE49-F238E27FC236}">
                <a16:creationId xmlns:a16="http://schemas.microsoft.com/office/drawing/2014/main" id="{0F8B457D-9866-8AFF-0192-6C151E69CF7C}"/>
              </a:ext>
            </a:extLst>
          </p:cNvPr>
          <p:cNvSpPr/>
          <p:nvPr userDrawn="1"/>
        </p:nvSpPr>
        <p:spPr>
          <a:xfrm>
            <a:off x="8238443" y="3802117"/>
            <a:ext cx="1124400" cy="1124400"/>
          </a:xfrm>
          <a:prstGeom prst="ellipse">
            <a:avLst/>
          </a:prstGeom>
          <a:noFill/>
          <a:ln w="63500" cap="flat">
            <a:solidFill>
              <a:schemeClr val="bg2"/>
            </a:solidFill>
            <a:prstDash val="solid"/>
            <a:miter/>
          </a:ln>
        </p:spPr>
        <p:txBody>
          <a:bodyPr rtlCol="0" anchor="ctr">
            <a:noAutofit/>
          </a:bodyPr>
          <a:lstStyle/>
          <a:p>
            <a:pPr algn="l"/>
            <a:endParaRPr lang="ko-KR" altLang="en-US"/>
          </a:p>
        </p:txBody>
      </p:sp>
      <p:sp>
        <p:nvSpPr>
          <p:cNvPr id="17" name="타원 10">
            <a:extLst>
              <a:ext uri="{FF2B5EF4-FFF2-40B4-BE49-F238E27FC236}">
                <a16:creationId xmlns:a16="http://schemas.microsoft.com/office/drawing/2014/main" id="{64BF009F-6A2B-E92F-7DA1-D3A761B499D2}"/>
              </a:ext>
            </a:extLst>
          </p:cNvPr>
          <p:cNvSpPr/>
          <p:nvPr userDrawn="1"/>
        </p:nvSpPr>
        <p:spPr>
          <a:xfrm>
            <a:off x="10052618" y="4605199"/>
            <a:ext cx="1124400" cy="1124400"/>
          </a:xfrm>
          <a:prstGeom prst="ellipse">
            <a:avLst/>
          </a:prstGeom>
          <a:noFill/>
          <a:ln w="63500" cap="flat">
            <a:solidFill>
              <a:schemeClr val="bg2"/>
            </a:solidFill>
            <a:prstDash val="solid"/>
            <a:miter/>
          </a:ln>
        </p:spPr>
        <p:txBody>
          <a:bodyPr rtlCol="0" anchor="ctr">
            <a:noAutofit/>
          </a:bodyPr>
          <a:lstStyle/>
          <a:p>
            <a:pPr algn="l"/>
            <a:endParaRPr lang="ko-KR" altLang="en-US"/>
          </a:p>
        </p:txBody>
      </p:sp>
      <p:cxnSp>
        <p:nvCxnSpPr>
          <p:cNvPr id="26" name="직선 연결선 1">
            <a:extLst>
              <a:ext uri="{FF2B5EF4-FFF2-40B4-BE49-F238E27FC236}">
                <a16:creationId xmlns:a16="http://schemas.microsoft.com/office/drawing/2014/main" id="{F2C23349-5B20-6E59-7259-6D690CB34C46}"/>
              </a:ext>
            </a:extLst>
          </p:cNvPr>
          <p:cNvCxnSpPr>
            <a:cxnSpLocks/>
            <a:endCxn id="4" idx="2"/>
          </p:cNvCxnSpPr>
          <p:nvPr userDrawn="1"/>
        </p:nvCxnSpPr>
        <p:spPr>
          <a:xfrm flipV="1">
            <a:off x="0" y="4364317"/>
            <a:ext cx="1014981" cy="1308"/>
          </a:xfrm>
          <a:prstGeom prst="line">
            <a:avLst/>
          </a:prstGeom>
          <a:ln w="63500">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7" name="직선 연결선 1">
            <a:extLst>
              <a:ext uri="{FF2B5EF4-FFF2-40B4-BE49-F238E27FC236}">
                <a16:creationId xmlns:a16="http://schemas.microsoft.com/office/drawing/2014/main" id="{9EE9A548-0167-F464-EDE2-654B246CF324}"/>
              </a:ext>
            </a:extLst>
          </p:cNvPr>
          <p:cNvCxnSpPr>
            <a:cxnSpLocks/>
          </p:cNvCxnSpPr>
          <p:nvPr userDrawn="1"/>
        </p:nvCxnSpPr>
        <p:spPr>
          <a:xfrm flipH="1" flipV="1">
            <a:off x="2083242" y="4569837"/>
            <a:ext cx="789389" cy="402669"/>
          </a:xfrm>
          <a:prstGeom prst="line">
            <a:avLst/>
          </a:prstGeom>
          <a:ln w="63500">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8" name="직선 연결선 1">
            <a:extLst>
              <a:ext uri="{FF2B5EF4-FFF2-40B4-BE49-F238E27FC236}">
                <a16:creationId xmlns:a16="http://schemas.microsoft.com/office/drawing/2014/main" id="{36099EA7-B691-6D6E-19B5-BCECECB3C0DC}"/>
              </a:ext>
            </a:extLst>
          </p:cNvPr>
          <p:cNvCxnSpPr>
            <a:cxnSpLocks/>
          </p:cNvCxnSpPr>
          <p:nvPr userDrawn="1"/>
        </p:nvCxnSpPr>
        <p:spPr>
          <a:xfrm flipH="1" flipV="1">
            <a:off x="5723231" y="4605199"/>
            <a:ext cx="728937" cy="352844"/>
          </a:xfrm>
          <a:prstGeom prst="line">
            <a:avLst/>
          </a:prstGeom>
          <a:ln w="63500">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9" name="직선 연결선 1">
            <a:extLst>
              <a:ext uri="{FF2B5EF4-FFF2-40B4-BE49-F238E27FC236}">
                <a16:creationId xmlns:a16="http://schemas.microsoft.com/office/drawing/2014/main" id="{84B2EF5A-E0C4-CF9B-DA53-D38343D417E4}"/>
              </a:ext>
            </a:extLst>
          </p:cNvPr>
          <p:cNvCxnSpPr>
            <a:cxnSpLocks/>
          </p:cNvCxnSpPr>
          <p:nvPr userDrawn="1"/>
        </p:nvCxnSpPr>
        <p:spPr>
          <a:xfrm flipH="1" flipV="1">
            <a:off x="9340283" y="4569837"/>
            <a:ext cx="768475" cy="356680"/>
          </a:xfrm>
          <a:prstGeom prst="line">
            <a:avLst/>
          </a:prstGeom>
          <a:ln w="63500">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0" name="직선 연결선 1">
            <a:extLst>
              <a:ext uri="{FF2B5EF4-FFF2-40B4-BE49-F238E27FC236}">
                <a16:creationId xmlns:a16="http://schemas.microsoft.com/office/drawing/2014/main" id="{B872A414-AE5C-98BF-77A0-3FF212160097}"/>
              </a:ext>
            </a:extLst>
          </p:cNvPr>
          <p:cNvCxnSpPr>
            <a:cxnSpLocks/>
          </p:cNvCxnSpPr>
          <p:nvPr userDrawn="1"/>
        </p:nvCxnSpPr>
        <p:spPr>
          <a:xfrm flipH="1">
            <a:off x="3944068" y="4605199"/>
            <a:ext cx="727147" cy="367307"/>
          </a:xfrm>
          <a:prstGeom prst="line">
            <a:avLst/>
          </a:prstGeom>
          <a:ln w="63500">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1" name="직선 연결선 1">
            <a:extLst>
              <a:ext uri="{FF2B5EF4-FFF2-40B4-BE49-F238E27FC236}">
                <a16:creationId xmlns:a16="http://schemas.microsoft.com/office/drawing/2014/main" id="{E1ACC323-F7B2-3989-257E-9BC8C32C6174}"/>
              </a:ext>
            </a:extLst>
          </p:cNvPr>
          <p:cNvCxnSpPr>
            <a:cxnSpLocks/>
          </p:cNvCxnSpPr>
          <p:nvPr userDrawn="1"/>
        </p:nvCxnSpPr>
        <p:spPr>
          <a:xfrm flipH="1">
            <a:off x="7538398" y="4605199"/>
            <a:ext cx="728937" cy="367307"/>
          </a:xfrm>
          <a:prstGeom prst="line">
            <a:avLst/>
          </a:prstGeom>
          <a:ln w="6350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5" name="Content Placeholder 3">
            <a:extLst>
              <a:ext uri="{FF2B5EF4-FFF2-40B4-BE49-F238E27FC236}">
                <a16:creationId xmlns:a16="http://schemas.microsoft.com/office/drawing/2014/main" id="{EAE35352-A08C-0BF8-4E4E-15726E7D6E62}"/>
              </a:ext>
            </a:extLst>
          </p:cNvPr>
          <p:cNvSpPr>
            <a:spLocks noGrp="1"/>
          </p:cNvSpPr>
          <p:nvPr>
            <p:ph sz="quarter" idx="42" hasCustomPrompt="1"/>
          </p:nvPr>
        </p:nvSpPr>
        <p:spPr>
          <a:xfrm>
            <a:off x="2520818" y="3427178"/>
            <a:ext cx="1724139" cy="837475"/>
          </a:xfrm>
        </p:spPr>
        <p:txBody>
          <a:bodyPr lIns="108000" rIns="108000" numCol="1" spcCol="0">
            <a:noAutofit/>
          </a:bodyPr>
          <a:lstStyle>
            <a:lvl1pPr algn="ctr">
              <a:spcBef>
                <a:spcPts val="0"/>
              </a:spcBef>
              <a:spcAft>
                <a:spcPts val="800"/>
              </a:spcAft>
              <a:defRPr lang="en-US" sz="1050" dirty="0" smtClean="0">
                <a:solidFill>
                  <a:schemeClr val="tx1"/>
                </a:solidFill>
              </a:defRPr>
            </a:lvl1pPr>
            <a:lvl2pPr algn="ctr">
              <a:spcBef>
                <a:spcPts val="0"/>
              </a:spcBef>
              <a:spcAft>
                <a:spcPts val="800"/>
              </a:spcAft>
              <a:defRPr lang="en-US" sz="1050" dirty="0">
                <a:solidFill>
                  <a:schemeClr val="tx1"/>
                </a:solidFill>
              </a:defRPr>
            </a:lvl2pPr>
            <a:lvl3pPr algn="ctr">
              <a:spcBef>
                <a:spcPts val="0"/>
              </a:spcBef>
              <a:spcAft>
                <a:spcPts val="800"/>
              </a:spcAft>
              <a:defRPr lang="en-US" sz="1050"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10000"/>
              </a:lnSpc>
              <a:spcBef>
                <a:spcPts val="0"/>
              </a:spcBef>
              <a:spcAft>
                <a:spcPts val="800"/>
              </a:spcAft>
              <a:buClrTx/>
              <a:buSzTx/>
              <a:buFont typeface="Arial" pitchFamily="34" charset="0"/>
              <a:buNone/>
              <a:tabLst/>
              <a:defRPr lang="en-US" sz="1050" dirty="0" smtClean="0">
                <a:solidFill>
                  <a:schemeClr val="tx1"/>
                </a:solidFill>
              </a:defRPr>
            </a:lvl5pPr>
            <a:lvl6pPr algn="ctr">
              <a:defRPr lang="en-US" sz="1000" dirty="0" smtClean="0">
                <a:solidFill>
                  <a:schemeClr val="tx1"/>
                </a:solidFill>
              </a:defRPr>
            </a:lvl6pPr>
            <a:lvl7pPr algn="ctr">
              <a:defRPr sz="1050">
                <a:solidFill>
                  <a:schemeClr val="tx1"/>
                </a:solidFill>
              </a:defRPr>
            </a:lvl7pPr>
            <a:lvl8pPr algn="ctr">
              <a:defRPr sz="1050">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0" name="Text Placeholder 2">
            <a:extLst>
              <a:ext uri="{FF2B5EF4-FFF2-40B4-BE49-F238E27FC236}">
                <a16:creationId xmlns:a16="http://schemas.microsoft.com/office/drawing/2014/main" id="{57BA8DCC-0CC5-DDB0-F98B-5B4D72E58704}"/>
              </a:ext>
            </a:extLst>
          </p:cNvPr>
          <p:cNvSpPr>
            <a:spLocks noGrp="1"/>
          </p:cNvSpPr>
          <p:nvPr>
            <p:ph type="body" idx="22" hasCustomPrompt="1"/>
          </p:nvPr>
        </p:nvSpPr>
        <p:spPr>
          <a:xfrm>
            <a:off x="707136" y="1944624"/>
            <a:ext cx="1724139" cy="463296"/>
          </a:xfrm>
          <a:noFill/>
        </p:spPr>
        <p:txBody>
          <a:bodyPr lIns="144000" tIns="0" rIns="144000" bIns="0" numCol="1" spcCol="0" anchor="t">
            <a:noAutofit/>
          </a:bodyPr>
          <a:lstStyle>
            <a:lvl1pPr marL="0" indent="0" algn="ctr">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3" name="Title 1">
            <a:extLst>
              <a:ext uri="{FF2B5EF4-FFF2-40B4-BE49-F238E27FC236}">
                <a16:creationId xmlns:a16="http://schemas.microsoft.com/office/drawing/2014/main" id="{AF6F2B00-5C4D-5297-DA1D-457CBB3F0013}"/>
              </a:ext>
            </a:extLst>
          </p:cNvPr>
          <p:cNvSpPr>
            <a:spLocks noGrp="1"/>
          </p:cNvSpPr>
          <p:nvPr>
            <p:ph type="title" hasCustomPrompt="1"/>
          </p:nvPr>
        </p:nvSpPr>
        <p:spPr>
          <a:xfrm>
            <a:off x="696913" y="549274"/>
            <a:ext cx="10801349" cy="550863"/>
          </a:xfrm>
        </p:spPr>
        <p:txBody>
          <a:bodyPr>
            <a:noAutofit/>
          </a:bodyPr>
          <a:lstStyle>
            <a:lvl1pPr>
              <a:defRPr sz="3000"/>
            </a:lvl1pPr>
          </a:lstStyle>
          <a:p>
            <a:pPr lvl="0"/>
            <a:r>
              <a:rPr lang="en-AU" noProof="0"/>
              <a:t>Click to add text</a:t>
            </a:r>
          </a:p>
        </p:txBody>
      </p:sp>
      <p:sp>
        <p:nvSpPr>
          <p:cNvPr id="12" name="Text Placeholder 2">
            <a:extLst>
              <a:ext uri="{FF2B5EF4-FFF2-40B4-BE49-F238E27FC236}">
                <a16:creationId xmlns:a16="http://schemas.microsoft.com/office/drawing/2014/main" id="{6BDD6BA8-6D6B-F852-4122-07367E9B84BC}"/>
              </a:ext>
            </a:extLst>
          </p:cNvPr>
          <p:cNvSpPr>
            <a:spLocks noGrp="1"/>
          </p:cNvSpPr>
          <p:nvPr>
            <p:ph type="body" idx="25" hasCustomPrompt="1"/>
          </p:nvPr>
        </p:nvSpPr>
        <p:spPr>
          <a:xfrm>
            <a:off x="2528555" y="2784715"/>
            <a:ext cx="1724139" cy="463296"/>
          </a:xfrm>
          <a:noFill/>
        </p:spPr>
        <p:txBody>
          <a:bodyPr lIns="144000" tIns="0" rIns="144000" bIns="0" numCol="1" spcCol="0" anchor="t">
            <a:noAutofit/>
          </a:bodyPr>
          <a:lstStyle>
            <a:lvl1pPr marL="0" indent="0" algn="ctr">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38" name="Text Placeholder 2">
            <a:extLst>
              <a:ext uri="{FF2B5EF4-FFF2-40B4-BE49-F238E27FC236}">
                <a16:creationId xmlns:a16="http://schemas.microsoft.com/office/drawing/2014/main" id="{B9502E5B-E2C8-147F-DB9F-4A7DD496E41B}"/>
              </a:ext>
            </a:extLst>
          </p:cNvPr>
          <p:cNvSpPr>
            <a:spLocks noGrp="1"/>
          </p:cNvSpPr>
          <p:nvPr>
            <p:ph type="body" idx="28" hasCustomPrompt="1"/>
          </p:nvPr>
        </p:nvSpPr>
        <p:spPr>
          <a:xfrm>
            <a:off x="4323438" y="1944624"/>
            <a:ext cx="1724139" cy="463296"/>
          </a:xfrm>
          <a:noFill/>
        </p:spPr>
        <p:txBody>
          <a:bodyPr lIns="144000" tIns="0" rIns="144000" bIns="0" numCol="1" spcCol="0" anchor="t">
            <a:noAutofit/>
          </a:bodyPr>
          <a:lstStyle>
            <a:lvl1pPr marL="0" indent="0" algn="ctr">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42" name="Text Placeholder 2">
            <a:extLst>
              <a:ext uri="{FF2B5EF4-FFF2-40B4-BE49-F238E27FC236}">
                <a16:creationId xmlns:a16="http://schemas.microsoft.com/office/drawing/2014/main" id="{C50ADE39-825A-BF59-D94C-0DE0A0BD07FC}"/>
              </a:ext>
            </a:extLst>
          </p:cNvPr>
          <p:cNvSpPr>
            <a:spLocks noGrp="1"/>
          </p:cNvSpPr>
          <p:nvPr>
            <p:ph type="body" idx="31" hasCustomPrompt="1"/>
          </p:nvPr>
        </p:nvSpPr>
        <p:spPr>
          <a:xfrm>
            <a:off x="6117363" y="2785772"/>
            <a:ext cx="1724139" cy="463296"/>
          </a:xfrm>
          <a:noFill/>
        </p:spPr>
        <p:txBody>
          <a:bodyPr lIns="144000" tIns="0" rIns="144000" bIns="0" numCol="1" spcCol="0" anchor="t">
            <a:noAutofit/>
          </a:bodyPr>
          <a:lstStyle>
            <a:lvl1pPr marL="0" indent="0" algn="ctr">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45" name="Text Placeholder 2">
            <a:extLst>
              <a:ext uri="{FF2B5EF4-FFF2-40B4-BE49-F238E27FC236}">
                <a16:creationId xmlns:a16="http://schemas.microsoft.com/office/drawing/2014/main" id="{660B28E1-8840-BACB-CC33-BB14B505388E}"/>
              </a:ext>
            </a:extLst>
          </p:cNvPr>
          <p:cNvSpPr>
            <a:spLocks noGrp="1"/>
          </p:cNvSpPr>
          <p:nvPr>
            <p:ph type="body" idx="34" hasCustomPrompt="1"/>
          </p:nvPr>
        </p:nvSpPr>
        <p:spPr>
          <a:xfrm>
            <a:off x="7927241" y="1947138"/>
            <a:ext cx="1724139" cy="463296"/>
          </a:xfrm>
          <a:noFill/>
        </p:spPr>
        <p:txBody>
          <a:bodyPr lIns="144000" tIns="0" rIns="144000" bIns="0" numCol="1" spcCol="0" anchor="t">
            <a:noAutofit/>
          </a:bodyPr>
          <a:lstStyle>
            <a:lvl1pPr marL="0" indent="0" algn="ctr">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48" name="Text Placeholder 2">
            <a:extLst>
              <a:ext uri="{FF2B5EF4-FFF2-40B4-BE49-F238E27FC236}">
                <a16:creationId xmlns:a16="http://schemas.microsoft.com/office/drawing/2014/main" id="{A933F508-67CA-A200-3073-971CF7117B69}"/>
              </a:ext>
            </a:extLst>
          </p:cNvPr>
          <p:cNvSpPr>
            <a:spLocks noGrp="1"/>
          </p:cNvSpPr>
          <p:nvPr>
            <p:ph type="body" idx="37" hasCustomPrompt="1"/>
          </p:nvPr>
        </p:nvSpPr>
        <p:spPr>
          <a:xfrm>
            <a:off x="9748485" y="2787379"/>
            <a:ext cx="1724139" cy="463296"/>
          </a:xfrm>
          <a:noFill/>
        </p:spPr>
        <p:txBody>
          <a:bodyPr lIns="144000" tIns="0" rIns="144000" bIns="0" numCol="1" spcCol="0" anchor="t">
            <a:noAutofit/>
          </a:bodyPr>
          <a:lstStyle>
            <a:lvl1pPr marL="0" indent="0" algn="ctr">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64" name="Slide Number Placeholder 63">
            <a:extLst>
              <a:ext uri="{FF2B5EF4-FFF2-40B4-BE49-F238E27FC236}">
                <a16:creationId xmlns:a16="http://schemas.microsoft.com/office/drawing/2014/main" id="{C0625663-48B2-5BB5-CDEF-2477F220F0A8}"/>
              </a:ext>
            </a:extLst>
          </p:cNvPr>
          <p:cNvSpPr>
            <a:spLocks noGrp="1"/>
          </p:cNvSpPr>
          <p:nvPr>
            <p:ph type="sldNum" sz="quarter" idx="39"/>
          </p:nvPr>
        </p:nvSpPr>
        <p:spPr/>
        <p:txBody>
          <a:bodyPr/>
          <a:lstStyle/>
          <a:p>
            <a:fld id="{E917DE0E-AFB1-41FD-BC35-27DB61CA125F}" type="slidenum">
              <a:rPr lang="en-AU" smtClean="0"/>
              <a:pPr/>
              <a:t>‹#›</a:t>
            </a:fld>
            <a:endParaRPr lang="en-AU"/>
          </a:p>
        </p:txBody>
      </p:sp>
      <p:sp>
        <p:nvSpPr>
          <p:cNvPr id="18" name="Picture Placeholder 14">
            <a:extLst>
              <a:ext uri="{FF2B5EF4-FFF2-40B4-BE49-F238E27FC236}">
                <a16:creationId xmlns:a16="http://schemas.microsoft.com/office/drawing/2014/main" id="{AFDF8D4B-1ECA-3E03-21B4-DF15E5A8E2AB}"/>
              </a:ext>
            </a:extLst>
          </p:cNvPr>
          <p:cNvSpPr>
            <a:spLocks noGrp="1"/>
          </p:cNvSpPr>
          <p:nvPr>
            <p:ph type="pic" sz="quarter" idx="45" hasCustomPrompt="1"/>
          </p:nvPr>
        </p:nvSpPr>
        <p:spPr>
          <a:xfrm>
            <a:off x="1182521" y="3969658"/>
            <a:ext cx="789320" cy="789318"/>
          </a:xfrm>
          <a:prstGeom prst="rect">
            <a:avLst/>
          </a:prstGeom>
        </p:spPr>
        <p:txBody>
          <a:bodyPr anchor="ctr" anchorCtr="0"/>
          <a:lstStyle>
            <a:lvl1pPr algn="ctr">
              <a:defRPr sz="1200"/>
            </a:lvl1pPr>
            <a:lvl5pPr algn="ctr">
              <a:defRPr sz="1400">
                <a:solidFill>
                  <a:schemeClr val="tx1"/>
                </a:solidFill>
                <a:latin typeface="+mn-lt"/>
              </a:defRPr>
            </a:lvl5pPr>
          </a:lstStyle>
          <a:p>
            <a:pPr lvl="4"/>
            <a:r>
              <a:rPr lang="en-AU"/>
              <a:t>Click icon to insert picture </a:t>
            </a:r>
          </a:p>
        </p:txBody>
      </p:sp>
      <p:sp>
        <p:nvSpPr>
          <p:cNvPr id="19" name="Picture Placeholder 14">
            <a:extLst>
              <a:ext uri="{FF2B5EF4-FFF2-40B4-BE49-F238E27FC236}">
                <a16:creationId xmlns:a16="http://schemas.microsoft.com/office/drawing/2014/main" id="{57166A80-39F0-F0E5-6C2F-55B619540803}"/>
              </a:ext>
            </a:extLst>
          </p:cNvPr>
          <p:cNvSpPr>
            <a:spLocks noGrp="1"/>
          </p:cNvSpPr>
          <p:nvPr>
            <p:ph type="pic" sz="quarter" idx="46" hasCustomPrompt="1"/>
          </p:nvPr>
        </p:nvSpPr>
        <p:spPr>
          <a:xfrm>
            <a:off x="3003979" y="4774338"/>
            <a:ext cx="789320" cy="789318"/>
          </a:xfrm>
          <a:prstGeom prst="rect">
            <a:avLst/>
          </a:prstGeom>
        </p:spPr>
        <p:txBody>
          <a:bodyPr anchor="ctr" anchorCtr="0"/>
          <a:lstStyle>
            <a:lvl1pPr algn="ctr">
              <a:defRPr sz="1200"/>
            </a:lvl1pPr>
            <a:lvl5pPr algn="ctr">
              <a:defRPr sz="1400">
                <a:solidFill>
                  <a:schemeClr val="tx1"/>
                </a:solidFill>
                <a:latin typeface="+mn-lt"/>
              </a:defRPr>
            </a:lvl5pPr>
          </a:lstStyle>
          <a:p>
            <a:pPr lvl="4"/>
            <a:r>
              <a:rPr lang="en-AU"/>
              <a:t>Click icon to insert picture </a:t>
            </a:r>
          </a:p>
        </p:txBody>
      </p:sp>
      <p:sp>
        <p:nvSpPr>
          <p:cNvPr id="20" name="Picture Placeholder 14">
            <a:extLst>
              <a:ext uri="{FF2B5EF4-FFF2-40B4-BE49-F238E27FC236}">
                <a16:creationId xmlns:a16="http://schemas.microsoft.com/office/drawing/2014/main" id="{A0C039CE-1E89-FDA0-C4BB-0240BDECA51C}"/>
              </a:ext>
            </a:extLst>
          </p:cNvPr>
          <p:cNvSpPr>
            <a:spLocks noGrp="1"/>
          </p:cNvSpPr>
          <p:nvPr>
            <p:ph type="pic" sz="quarter" idx="47" hasCustomPrompt="1"/>
          </p:nvPr>
        </p:nvSpPr>
        <p:spPr>
          <a:xfrm>
            <a:off x="4804885" y="3969156"/>
            <a:ext cx="789320" cy="789318"/>
          </a:xfrm>
          <a:prstGeom prst="rect">
            <a:avLst/>
          </a:prstGeom>
        </p:spPr>
        <p:txBody>
          <a:bodyPr anchor="ctr" anchorCtr="0"/>
          <a:lstStyle>
            <a:lvl1pPr algn="ctr">
              <a:defRPr sz="1200"/>
            </a:lvl1pPr>
            <a:lvl5pPr algn="ctr">
              <a:defRPr sz="1400">
                <a:solidFill>
                  <a:schemeClr val="tx1"/>
                </a:solidFill>
                <a:latin typeface="+mn-lt"/>
              </a:defRPr>
            </a:lvl5pPr>
          </a:lstStyle>
          <a:p>
            <a:pPr lvl="4"/>
            <a:r>
              <a:rPr lang="en-AU"/>
              <a:t>Click icon to insert picture </a:t>
            </a:r>
          </a:p>
        </p:txBody>
      </p:sp>
      <p:sp>
        <p:nvSpPr>
          <p:cNvPr id="21" name="Picture Placeholder 14">
            <a:extLst>
              <a:ext uri="{FF2B5EF4-FFF2-40B4-BE49-F238E27FC236}">
                <a16:creationId xmlns:a16="http://schemas.microsoft.com/office/drawing/2014/main" id="{A09E3E29-7C55-26DC-F57B-2BF00C4B14D4}"/>
              </a:ext>
            </a:extLst>
          </p:cNvPr>
          <p:cNvSpPr>
            <a:spLocks noGrp="1"/>
          </p:cNvSpPr>
          <p:nvPr>
            <p:ph type="pic" sz="quarter" idx="48" hasCustomPrompt="1"/>
          </p:nvPr>
        </p:nvSpPr>
        <p:spPr>
          <a:xfrm>
            <a:off x="6603521" y="4774338"/>
            <a:ext cx="789320" cy="789318"/>
          </a:xfrm>
          <a:prstGeom prst="rect">
            <a:avLst/>
          </a:prstGeom>
        </p:spPr>
        <p:txBody>
          <a:bodyPr anchor="ctr" anchorCtr="0"/>
          <a:lstStyle>
            <a:lvl1pPr algn="ctr">
              <a:defRPr sz="1200"/>
            </a:lvl1pPr>
            <a:lvl5pPr algn="ctr">
              <a:defRPr sz="1400">
                <a:solidFill>
                  <a:schemeClr val="tx1"/>
                </a:solidFill>
                <a:latin typeface="+mn-lt"/>
              </a:defRPr>
            </a:lvl5pPr>
          </a:lstStyle>
          <a:p>
            <a:pPr lvl="4"/>
            <a:r>
              <a:rPr lang="en-AU"/>
              <a:t>Click icon to insert picture </a:t>
            </a:r>
          </a:p>
        </p:txBody>
      </p:sp>
      <p:sp>
        <p:nvSpPr>
          <p:cNvPr id="22" name="Picture Placeholder 14">
            <a:extLst>
              <a:ext uri="{FF2B5EF4-FFF2-40B4-BE49-F238E27FC236}">
                <a16:creationId xmlns:a16="http://schemas.microsoft.com/office/drawing/2014/main" id="{5FD308E4-EA0D-F250-1222-5A08D52E0C83}"/>
              </a:ext>
            </a:extLst>
          </p:cNvPr>
          <p:cNvSpPr>
            <a:spLocks noGrp="1"/>
          </p:cNvSpPr>
          <p:nvPr>
            <p:ph type="pic" sz="quarter" idx="49" hasCustomPrompt="1"/>
          </p:nvPr>
        </p:nvSpPr>
        <p:spPr>
          <a:xfrm>
            <a:off x="10217578" y="4774338"/>
            <a:ext cx="789320" cy="789318"/>
          </a:xfrm>
          <a:prstGeom prst="rect">
            <a:avLst/>
          </a:prstGeom>
        </p:spPr>
        <p:txBody>
          <a:bodyPr anchor="ctr" anchorCtr="0"/>
          <a:lstStyle>
            <a:lvl1pPr algn="ctr">
              <a:defRPr sz="1200"/>
            </a:lvl1pPr>
            <a:lvl5pPr algn="ctr">
              <a:defRPr sz="1400">
                <a:solidFill>
                  <a:schemeClr val="tx1"/>
                </a:solidFill>
                <a:latin typeface="+mn-lt"/>
              </a:defRPr>
            </a:lvl5pPr>
          </a:lstStyle>
          <a:p>
            <a:pPr lvl="4"/>
            <a:r>
              <a:rPr lang="en-AU"/>
              <a:t>Click icon to insert picture </a:t>
            </a:r>
          </a:p>
        </p:txBody>
      </p:sp>
      <p:sp>
        <p:nvSpPr>
          <p:cNvPr id="23" name="Picture Placeholder 14">
            <a:extLst>
              <a:ext uri="{FF2B5EF4-FFF2-40B4-BE49-F238E27FC236}">
                <a16:creationId xmlns:a16="http://schemas.microsoft.com/office/drawing/2014/main" id="{104EF953-E6E7-DA6F-202D-6E8AB2C2F334}"/>
              </a:ext>
            </a:extLst>
          </p:cNvPr>
          <p:cNvSpPr>
            <a:spLocks noGrp="1"/>
          </p:cNvSpPr>
          <p:nvPr>
            <p:ph type="pic" sz="quarter" idx="50" hasCustomPrompt="1"/>
          </p:nvPr>
        </p:nvSpPr>
        <p:spPr>
          <a:xfrm>
            <a:off x="8397170" y="3969156"/>
            <a:ext cx="789320" cy="789318"/>
          </a:xfrm>
          <a:prstGeom prst="rect">
            <a:avLst/>
          </a:prstGeom>
        </p:spPr>
        <p:txBody>
          <a:bodyPr anchor="ctr" anchorCtr="0"/>
          <a:lstStyle>
            <a:lvl1pPr algn="ctr">
              <a:defRPr sz="1200"/>
            </a:lvl1pPr>
            <a:lvl5pPr algn="ctr">
              <a:defRPr sz="1400">
                <a:solidFill>
                  <a:schemeClr val="tx1"/>
                </a:solidFill>
                <a:latin typeface="+mn-lt"/>
              </a:defRPr>
            </a:lvl5pPr>
          </a:lstStyle>
          <a:p>
            <a:pPr lvl="4"/>
            <a:r>
              <a:rPr lang="en-AU"/>
              <a:t>Click icon to insert picture </a:t>
            </a:r>
          </a:p>
        </p:txBody>
      </p:sp>
      <p:sp>
        <p:nvSpPr>
          <p:cNvPr id="6" name="Freeform 5">
            <a:extLst>
              <a:ext uri="{FF2B5EF4-FFF2-40B4-BE49-F238E27FC236}">
                <a16:creationId xmlns:a16="http://schemas.microsoft.com/office/drawing/2014/main" id="{8B740A21-8F16-5102-2716-45A2D6C79D19}"/>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7" name="Straight Connector 6">
            <a:extLst>
              <a:ext uri="{FF2B5EF4-FFF2-40B4-BE49-F238E27FC236}">
                <a16:creationId xmlns:a16="http://schemas.microsoft.com/office/drawing/2014/main" id="{2CD9610E-77DD-C6B2-E61F-A2E6F3748459}"/>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54170B8D-B486-981C-D9FA-44890DFED80D}"/>
              </a:ext>
            </a:extLst>
          </p:cNvPr>
          <p:cNvSpPr>
            <a:spLocks noGrp="1"/>
          </p:cNvSpPr>
          <p:nvPr>
            <p:ph sz="quarter" idx="51" hasCustomPrompt="1"/>
          </p:nvPr>
        </p:nvSpPr>
        <p:spPr>
          <a:xfrm>
            <a:off x="702744" y="2589170"/>
            <a:ext cx="1724139" cy="837475"/>
          </a:xfrm>
        </p:spPr>
        <p:txBody>
          <a:bodyPr lIns="108000" rIns="108000" numCol="1" spcCol="0">
            <a:noAutofit/>
          </a:bodyPr>
          <a:lstStyle>
            <a:lvl1pPr algn="ctr">
              <a:spcBef>
                <a:spcPts val="0"/>
              </a:spcBef>
              <a:spcAft>
                <a:spcPts val="800"/>
              </a:spcAft>
              <a:defRPr lang="en-US" sz="1050" dirty="0" smtClean="0">
                <a:solidFill>
                  <a:schemeClr val="tx1"/>
                </a:solidFill>
              </a:defRPr>
            </a:lvl1pPr>
            <a:lvl2pPr algn="ctr">
              <a:spcBef>
                <a:spcPts val="0"/>
              </a:spcBef>
              <a:spcAft>
                <a:spcPts val="800"/>
              </a:spcAft>
              <a:defRPr lang="en-US" sz="1050" dirty="0">
                <a:solidFill>
                  <a:schemeClr val="tx1"/>
                </a:solidFill>
              </a:defRPr>
            </a:lvl2pPr>
            <a:lvl3pPr algn="ctr">
              <a:spcBef>
                <a:spcPts val="0"/>
              </a:spcBef>
              <a:spcAft>
                <a:spcPts val="800"/>
              </a:spcAft>
              <a:defRPr lang="en-US" sz="1050"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10000"/>
              </a:lnSpc>
              <a:spcBef>
                <a:spcPts val="0"/>
              </a:spcBef>
              <a:spcAft>
                <a:spcPts val="800"/>
              </a:spcAft>
              <a:buClrTx/>
              <a:buSzTx/>
              <a:buFont typeface="Arial" pitchFamily="34" charset="0"/>
              <a:buNone/>
              <a:tabLst/>
              <a:defRPr lang="en-US" sz="1050" dirty="0" smtClean="0">
                <a:solidFill>
                  <a:schemeClr val="tx1"/>
                </a:solidFill>
              </a:defRPr>
            </a:lvl5pPr>
            <a:lvl6pPr algn="ctr">
              <a:defRPr lang="en-US" sz="1000" dirty="0" smtClean="0">
                <a:solidFill>
                  <a:schemeClr val="tx1"/>
                </a:solidFill>
              </a:defRPr>
            </a:lvl6pPr>
            <a:lvl7pPr algn="ctr">
              <a:defRPr sz="1050">
                <a:solidFill>
                  <a:schemeClr val="tx1"/>
                </a:solidFill>
              </a:defRPr>
            </a:lvl7pPr>
            <a:lvl8pPr algn="ctr">
              <a:defRPr sz="1050">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3">
            <a:extLst>
              <a:ext uri="{FF2B5EF4-FFF2-40B4-BE49-F238E27FC236}">
                <a16:creationId xmlns:a16="http://schemas.microsoft.com/office/drawing/2014/main" id="{3BA82D18-072C-7A8F-F978-9C4B9A33BADA}"/>
              </a:ext>
            </a:extLst>
          </p:cNvPr>
          <p:cNvSpPr>
            <a:spLocks noGrp="1"/>
          </p:cNvSpPr>
          <p:nvPr>
            <p:ph sz="quarter" idx="52" hasCustomPrompt="1"/>
          </p:nvPr>
        </p:nvSpPr>
        <p:spPr>
          <a:xfrm>
            <a:off x="6123738" y="3427178"/>
            <a:ext cx="1724139" cy="837475"/>
          </a:xfrm>
        </p:spPr>
        <p:txBody>
          <a:bodyPr lIns="108000" rIns="108000" numCol="1" spcCol="0">
            <a:noAutofit/>
          </a:bodyPr>
          <a:lstStyle>
            <a:lvl1pPr algn="ctr">
              <a:spcBef>
                <a:spcPts val="0"/>
              </a:spcBef>
              <a:spcAft>
                <a:spcPts val="800"/>
              </a:spcAft>
              <a:defRPr lang="en-US" sz="1050" dirty="0" smtClean="0">
                <a:solidFill>
                  <a:schemeClr val="tx1"/>
                </a:solidFill>
              </a:defRPr>
            </a:lvl1pPr>
            <a:lvl2pPr algn="ctr">
              <a:spcBef>
                <a:spcPts val="0"/>
              </a:spcBef>
              <a:spcAft>
                <a:spcPts val="800"/>
              </a:spcAft>
              <a:defRPr lang="en-US" sz="1050" dirty="0">
                <a:solidFill>
                  <a:schemeClr val="tx1"/>
                </a:solidFill>
              </a:defRPr>
            </a:lvl2pPr>
            <a:lvl3pPr algn="ctr">
              <a:spcBef>
                <a:spcPts val="0"/>
              </a:spcBef>
              <a:spcAft>
                <a:spcPts val="800"/>
              </a:spcAft>
              <a:defRPr lang="en-US" sz="1050"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10000"/>
              </a:lnSpc>
              <a:spcBef>
                <a:spcPts val="0"/>
              </a:spcBef>
              <a:spcAft>
                <a:spcPts val="800"/>
              </a:spcAft>
              <a:buClrTx/>
              <a:buSzTx/>
              <a:buFont typeface="Arial" pitchFamily="34" charset="0"/>
              <a:buNone/>
              <a:tabLst/>
              <a:defRPr lang="en-US" sz="1050" dirty="0" smtClean="0">
                <a:solidFill>
                  <a:schemeClr val="tx1"/>
                </a:solidFill>
              </a:defRPr>
            </a:lvl5pPr>
            <a:lvl6pPr algn="ctr">
              <a:defRPr lang="en-US" sz="1000" dirty="0" smtClean="0">
                <a:solidFill>
                  <a:schemeClr val="tx1"/>
                </a:solidFill>
              </a:defRPr>
            </a:lvl6pPr>
            <a:lvl7pPr algn="ctr">
              <a:defRPr sz="1050">
                <a:solidFill>
                  <a:schemeClr val="tx1"/>
                </a:solidFill>
              </a:defRPr>
            </a:lvl7pPr>
            <a:lvl8pPr algn="ctr">
              <a:defRPr sz="1050">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4" name="Content Placeholder 3">
            <a:extLst>
              <a:ext uri="{FF2B5EF4-FFF2-40B4-BE49-F238E27FC236}">
                <a16:creationId xmlns:a16="http://schemas.microsoft.com/office/drawing/2014/main" id="{78E7BD79-6308-D091-B022-D3FB9F3C0109}"/>
              </a:ext>
            </a:extLst>
          </p:cNvPr>
          <p:cNvSpPr>
            <a:spLocks noGrp="1"/>
          </p:cNvSpPr>
          <p:nvPr>
            <p:ph sz="quarter" idx="53" hasCustomPrompt="1"/>
          </p:nvPr>
        </p:nvSpPr>
        <p:spPr>
          <a:xfrm>
            <a:off x="4323438" y="2589170"/>
            <a:ext cx="1724139" cy="837475"/>
          </a:xfrm>
        </p:spPr>
        <p:txBody>
          <a:bodyPr lIns="108000" rIns="108000" numCol="1" spcCol="0">
            <a:noAutofit/>
          </a:bodyPr>
          <a:lstStyle>
            <a:lvl1pPr algn="ctr">
              <a:spcBef>
                <a:spcPts val="0"/>
              </a:spcBef>
              <a:spcAft>
                <a:spcPts val="800"/>
              </a:spcAft>
              <a:defRPr lang="en-US" sz="1050" dirty="0" smtClean="0">
                <a:solidFill>
                  <a:schemeClr val="tx1"/>
                </a:solidFill>
              </a:defRPr>
            </a:lvl1pPr>
            <a:lvl2pPr algn="ctr">
              <a:spcBef>
                <a:spcPts val="0"/>
              </a:spcBef>
              <a:spcAft>
                <a:spcPts val="800"/>
              </a:spcAft>
              <a:defRPr lang="en-US" sz="1050" dirty="0">
                <a:solidFill>
                  <a:schemeClr val="tx1"/>
                </a:solidFill>
              </a:defRPr>
            </a:lvl2pPr>
            <a:lvl3pPr algn="ctr">
              <a:spcBef>
                <a:spcPts val="0"/>
              </a:spcBef>
              <a:spcAft>
                <a:spcPts val="800"/>
              </a:spcAft>
              <a:defRPr lang="en-US" sz="1050"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10000"/>
              </a:lnSpc>
              <a:spcBef>
                <a:spcPts val="0"/>
              </a:spcBef>
              <a:spcAft>
                <a:spcPts val="800"/>
              </a:spcAft>
              <a:buClrTx/>
              <a:buSzTx/>
              <a:buFont typeface="Arial" pitchFamily="34" charset="0"/>
              <a:buNone/>
              <a:tabLst/>
              <a:defRPr lang="en-US" sz="1050" dirty="0" smtClean="0">
                <a:solidFill>
                  <a:schemeClr val="tx1"/>
                </a:solidFill>
              </a:defRPr>
            </a:lvl5pPr>
            <a:lvl6pPr algn="ctr">
              <a:defRPr lang="en-US" sz="1000" dirty="0" smtClean="0">
                <a:solidFill>
                  <a:schemeClr val="tx1"/>
                </a:solidFill>
              </a:defRPr>
            </a:lvl6pPr>
            <a:lvl7pPr algn="ctr">
              <a:defRPr sz="1050">
                <a:solidFill>
                  <a:schemeClr val="tx1"/>
                </a:solidFill>
              </a:defRPr>
            </a:lvl7pPr>
            <a:lvl8pPr algn="ctr">
              <a:defRPr sz="1050">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4" name="Content Placeholder 3">
            <a:extLst>
              <a:ext uri="{FF2B5EF4-FFF2-40B4-BE49-F238E27FC236}">
                <a16:creationId xmlns:a16="http://schemas.microsoft.com/office/drawing/2014/main" id="{814AFCAC-A5CD-216E-F30B-EF40FCEA309A}"/>
              </a:ext>
            </a:extLst>
          </p:cNvPr>
          <p:cNvSpPr>
            <a:spLocks noGrp="1"/>
          </p:cNvSpPr>
          <p:nvPr>
            <p:ph sz="quarter" idx="54" hasCustomPrompt="1"/>
          </p:nvPr>
        </p:nvSpPr>
        <p:spPr>
          <a:xfrm>
            <a:off x="9757810" y="3427178"/>
            <a:ext cx="1724139" cy="837475"/>
          </a:xfrm>
        </p:spPr>
        <p:txBody>
          <a:bodyPr lIns="108000" rIns="108000" numCol="1" spcCol="0">
            <a:noAutofit/>
          </a:bodyPr>
          <a:lstStyle>
            <a:lvl1pPr algn="ctr">
              <a:spcBef>
                <a:spcPts val="0"/>
              </a:spcBef>
              <a:spcAft>
                <a:spcPts val="800"/>
              </a:spcAft>
              <a:defRPr lang="en-US" sz="1050" dirty="0" smtClean="0">
                <a:solidFill>
                  <a:schemeClr val="tx1"/>
                </a:solidFill>
              </a:defRPr>
            </a:lvl1pPr>
            <a:lvl2pPr algn="ctr">
              <a:spcBef>
                <a:spcPts val="0"/>
              </a:spcBef>
              <a:spcAft>
                <a:spcPts val="800"/>
              </a:spcAft>
              <a:defRPr lang="en-US" sz="1050" dirty="0">
                <a:solidFill>
                  <a:schemeClr val="tx1"/>
                </a:solidFill>
              </a:defRPr>
            </a:lvl2pPr>
            <a:lvl3pPr algn="ctr">
              <a:spcBef>
                <a:spcPts val="0"/>
              </a:spcBef>
              <a:spcAft>
                <a:spcPts val="800"/>
              </a:spcAft>
              <a:defRPr lang="en-US" sz="1050"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10000"/>
              </a:lnSpc>
              <a:spcBef>
                <a:spcPts val="0"/>
              </a:spcBef>
              <a:spcAft>
                <a:spcPts val="800"/>
              </a:spcAft>
              <a:buClrTx/>
              <a:buSzTx/>
              <a:buFont typeface="Arial" pitchFamily="34" charset="0"/>
              <a:buNone/>
              <a:tabLst/>
              <a:defRPr lang="en-US" sz="1050" dirty="0" smtClean="0">
                <a:solidFill>
                  <a:schemeClr val="tx1"/>
                </a:solidFill>
              </a:defRPr>
            </a:lvl5pPr>
            <a:lvl6pPr algn="ctr">
              <a:defRPr lang="en-US" sz="1000" dirty="0" smtClean="0">
                <a:solidFill>
                  <a:schemeClr val="tx1"/>
                </a:solidFill>
              </a:defRPr>
            </a:lvl6pPr>
            <a:lvl7pPr algn="ctr">
              <a:defRPr sz="1050">
                <a:solidFill>
                  <a:schemeClr val="tx1"/>
                </a:solidFill>
              </a:defRPr>
            </a:lvl7pPr>
            <a:lvl8pPr algn="ctr">
              <a:defRPr sz="1050">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5" name="Content Placeholder 3">
            <a:extLst>
              <a:ext uri="{FF2B5EF4-FFF2-40B4-BE49-F238E27FC236}">
                <a16:creationId xmlns:a16="http://schemas.microsoft.com/office/drawing/2014/main" id="{EFABCC87-55DF-AFF7-F4B0-E5F2DD732917}"/>
              </a:ext>
            </a:extLst>
          </p:cNvPr>
          <p:cNvSpPr>
            <a:spLocks noGrp="1"/>
          </p:cNvSpPr>
          <p:nvPr>
            <p:ph sz="quarter" idx="55" hasCustomPrompt="1"/>
          </p:nvPr>
        </p:nvSpPr>
        <p:spPr>
          <a:xfrm>
            <a:off x="7924038" y="2589170"/>
            <a:ext cx="1724139" cy="837475"/>
          </a:xfrm>
        </p:spPr>
        <p:txBody>
          <a:bodyPr lIns="108000" rIns="108000" numCol="1" spcCol="0">
            <a:noAutofit/>
          </a:bodyPr>
          <a:lstStyle>
            <a:lvl1pPr algn="ctr">
              <a:spcBef>
                <a:spcPts val="0"/>
              </a:spcBef>
              <a:spcAft>
                <a:spcPts val="800"/>
              </a:spcAft>
              <a:defRPr lang="en-US" sz="1050" dirty="0" smtClean="0">
                <a:solidFill>
                  <a:schemeClr val="tx1"/>
                </a:solidFill>
              </a:defRPr>
            </a:lvl1pPr>
            <a:lvl2pPr algn="ctr">
              <a:spcBef>
                <a:spcPts val="0"/>
              </a:spcBef>
              <a:spcAft>
                <a:spcPts val="800"/>
              </a:spcAft>
              <a:defRPr lang="en-US" sz="1050" dirty="0">
                <a:solidFill>
                  <a:schemeClr val="tx1"/>
                </a:solidFill>
              </a:defRPr>
            </a:lvl2pPr>
            <a:lvl3pPr algn="ctr">
              <a:spcBef>
                <a:spcPts val="0"/>
              </a:spcBef>
              <a:spcAft>
                <a:spcPts val="800"/>
              </a:spcAft>
              <a:defRPr lang="en-US" sz="1050" dirty="0">
                <a:solidFill>
                  <a:schemeClr val="tx1"/>
                </a:solidFill>
              </a:defRPr>
            </a:lvl3pPr>
            <a:lvl4pPr algn="ctr">
              <a:spcAft>
                <a:spcPts val="600"/>
              </a:spcAft>
              <a:defRPr lang="en-US" sz="1200" cap="all" baseline="0" dirty="0">
                <a:solidFill>
                  <a:schemeClr val="tx1"/>
                </a:solidFill>
              </a:defRPr>
            </a:lvl4pPr>
            <a:lvl5pPr marL="0" marR="0" indent="0" algn="ctr" defTabSz="1088776" rtl="0" eaLnBrk="1" fontAlgn="auto" latinLnBrk="0" hangingPunct="1">
              <a:lnSpc>
                <a:spcPct val="110000"/>
              </a:lnSpc>
              <a:spcBef>
                <a:spcPts val="0"/>
              </a:spcBef>
              <a:spcAft>
                <a:spcPts val="800"/>
              </a:spcAft>
              <a:buClrTx/>
              <a:buSzTx/>
              <a:buFont typeface="Arial" pitchFamily="34" charset="0"/>
              <a:buNone/>
              <a:tabLst/>
              <a:defRPr lang="en-US" sz="1050" dirty="0" smtClean="0">
                <a:solidFill>
                  <a:schemeClr val="tx1"/>
                </a:solidFill>
              </a:defRPr>
            </a:lvl5pPr>
            <a:lvl6pPr algn="ctr">
              <a:defRPr lang="en-US" sz="1000" dirty="0" smtClean="0">
                <a:solidFill>
                  <a:schemeClr val="tx1"/>
                </a:solidFill>
              </a:defRPr>
            </a:lvl6pPr>
            <a:lvl7pPr algn="ctr">
              <a:defRPr sz="1050">
                <a:solidFill>
                  <a:schemeClr val="tx1"/>
                </a:solidFill>
              </a:defRPr>
            </a:lvl7pPr>
            <a:lvl8pPr algn="ctr">
              <a:defRPr sz="1050">
                <a:solidFill>
                  <a:schemeClr val="tx1"/>
                </a:solidFill>
              </a:defRPr>
            </a:lvl8pPr>
            <a:lvl9pPr algn="ctr">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Footer Placeholder 1">
            <a:extLst>
              <a:ext uri="{FF2B5EF4-FFF2-40B4-BE49-F238E27FC236}">
                <a16:creationId xmlns:a16="http://schemas.microsoft.com/office/drawing/2014/main" id="{E0E601B5-5911-1DA5-0B1B-FA6CAE78ACBF}"/>
              </a:ext>
            </a:extLst>
          </p:cNvPr>
          <p:cNvSpPr>
            <a:spLocks noGrp="1"/>
          </p:cNvSpPr>
          <p:nvPr>
            <p:ph type="ftr" sz="quarter" idx="56"/>
          </p:nvPr>
        </p:nvSpPr>
        <p:spPr/>
        <p:txBody>
          <a:bodyPr/>
          <a:lstStyle/>
          <a:p>
            <a:endParaRPr lang="en-AU"/>
          </a:p>
        </p:txBody>
      </p:sp>
    </p:spTree>
    <p:extLst>
      <p:ext uri="{BB962C8B-B14F-4D97-AF65-F5344CB8AC3E}">
        <p14:creationId xmlns:p14="http://schemas.microsoft.com/office/powerpoint/2010/main" val="246934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57BA8DCC-0CC5-DDB0-F98B-5B4D72E58704}"/>
              </a:ext>
            </a:extLst>
          </p:cNvPr>
          <p:cNvSpPr>
            <a:spLocks noGrp="1"/>
          </p:cNvSpPr>
          <p:nvPr>
            <p:ph type="body" idx="22" hasCustomPrompt="1"/>
          </p:nvPr>
        </p:nvSpPr>
        <p:spPr>
          <a:xfrm>
            <a:off x="792480" y="2401362"/>
            <a:ext cx="1508761" cy="521246"/>
          </a:xfrm>
          <a:noFill/>
        </p:spPr>
        <p:txBody>
          <a:bodyPr lIns="0" tIns="0" rIns="0" bIns="0" numCol="1" spcCol="0" anchor="t">
            <a:noAutofit/>
          </a:bodyPr>
          <a:lstStyle>
            <a:lvl1pPr marL="0" indent="0" algn="l">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3" name="Title 1">
            <a:extLst>
              <a:ext uri="{FF2B5EF4-FFF2-40B4-BE49-F238E27FC236}">
                <a16:creationId xmlns:a16="http://schemas.microsoft.com/office/drawing/2014/main" id="{AF6F2B00-5C4D-5297-DA1D-457CBB3F0013}"/>
              </a:ext>
            </a:extLst>
          </p:cNvPr>
          <p:cNvSpPr>
            <a:spLocks noGrp="1"/>
          </p:cNvSpPr>
          <p:nvPr>
            <p:ph type="title" hasCustomPrompt="1"/>
          </p:nvPr>
        </p:nvSpPr>
        <p:spPr>
          <a:xfrm>
            <a:off x="696913" y="549274"/>
            <a:ext cx="10801350" cy="550863"/>
          </a:xfrm>
        </p:spPr>
        <p:txBody>
          <a:bodyPr>
            <a:noAutofit/>
          </a:bodyPr>
          <a:lstStyle>
            <a:lvl1pPr>
              <a:defRPr sz="3000"/>
            </a:lvl1pPr>
          </a:lstStyle>
          <a:p>
            <a:pPr lvl="0"/>
            <a:r>
              <a:rPr lang="en-AU" noProof="0"/>
              <a:t>Click to add text</a:t>
            </a:r>
          </a:p>
        </p:txBody>
      </p:sp>
      <p:sp>
        <p:nvSpPr>
          <p:cNvPr id="18" name="Text Placeholder 2">
            <a:extLst>
              <a:ext uri="{FF2B5EF4-FFF2-40B4-BE49-F238E27FC236}">
                <a16:creationId xmlns:a16="http://schemas.microsoft.com/office/drawing/2014/main" id="{681FAA2A-E556-6865-90FB-1263E36A8BC9}"/>
              </a:ext>
            </a:extLst>
          </p:cNvPr>
          <p:cNvSpPr>
            <a:spLocks noGrp="1"/>
          </p:cNvSpPr>
          <p:nvPr>
            <p:ph type="body" idx="25" hasCustomPrompt="1"/>
          </p:nvPr>
        </p:nvSpPr>
        <p:spPr>
          <a:xfrm>
            <a:off x="2641600" y="2401362"/>
            <a:ext cx="1508761" cy="521246"/>
          </a:xfrm>
          <a:noFill/>
        </p:spPr>
        <p:txBody>
          <a:bodyPr lIns="0" tIns="0" rIns="0" bIns="0" numCol="1" spcCol="0" anchor="t">
            <a:noAutofit/>
          </a:bodyPr>
          <a:lstStyle>
            <a:lvl1pPr marL="0" indent="0" algn="l">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21" name="Text Placeholder 2">
            <a:extLst>
              <a:ext uri="{FF2B5EF4-FFF2-40B4-BE49-F238E27FC236}">
                <a16:creationId xmlns:a16="http://schemas.microsoft.com/office/drawing/2014/main" id="{7AE62024-3082-54EE-5A7C-38E43AC62953}"/>
              </a:ext>
            </a:extLst>
          </p:cNvPr>
          <p:cNvSpPr>
            <a:spLocks noGrp="1"/>
          </p:cNvSpPr>
          <p:nvPr>
            <p:ph type="body" idx="28" hasCustomPrompt="1"/>
          </p:nvPr>
        </p:nvSpPr>
        <p:spPr>
          <a:xfrm>
            <a:off x="4439920" y="2401362"/>
            <a:ext cx="1508761" cy="521246"/>
          </a:xfrm>
          <a:noFill/>
        </p:spPr>
        <p:txBody>
          <a:bodyPr lIns="0" tIns="0" rIns="0" bIns="0" numCol="1" spcCol="0" anchor="t">
            <a:noAutofit/>
          </a:bodyPr>
          <a:lstStyle>
            <a:lvl1pPr marL="0" indent="0" algn="l">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24" name="Text Placeholder 2">
            <a:extLst>
              <a:ext uri="{FF2B5EF4-FFF2-40B4-BE49-F238E27FC236}">
                <a16:creationId xmlns:a16="http://schemas.microsoft.com/office/drawing/2014/main" id="{91E3AD03-8D6F-28B1-2DC9-4712C65B3E85}"/>
              </a:ext>
            </a:extLst>
          </p:cNvPr>
          <p:cNvSpPr>
            <a:spLocks noGrp="1"/>
          </p:cNvSpPr>
          <p:nvPr>
            <p:ph type="body" idx="31" hasCustomPrompt="1"/>
          </p:nvPr>
        </p:nvSpPr>
        <p:spPr>
          <a:xfrm>
            <a:off x="6238240" y="2401362"/>
            <a:ext cx="1508761" cy="521246"/>
          </a:xfrm>
          <a:noFill/>
        </p:spPr>
        <p:txBody>
          <a:bodyPr lIns="0" tIns="0" rIns="0" bIns="0" numCol="1" spcCol="0" anchor="t">
            <a:noAutofit/>
          </a:bodyPr>
          <a:lstStyle>
            <a:lvl1pPr marL="0" indent="0" algn="l">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27" name="Text Placeholder 2">
            <a:extLst>
              <a:ext uri="{FF2B5EF4-FFF2-40B4-BE49-F238E27FC236}">
                <a16:creationId xmlns:a16="http://schemas.microsoft.com/office/drawing/2014/main" id="{A9A4606C-C2D0-8D4A-6C26-B21F7F545EC2}"/>
              </a:ext>
            </a:extLst>
          </p:cNvPr>
          <p:cNvSpPr>
            <a:spLocks noGrp="1"/>
          </p:cNvSpPr>
          <p:nvPr>
            <p:ph type="body" idx="34" hasCustomPrompt="1"/>
          </p:nvPr>
        </p:nvSpPr>
        <p:spPr>
          <a:xfrm>
            <a:off x="8046720" y="2401362"/>
            <a:ext cx="1508761" cy="521246"/>
          </a:xfrm>
          <a:noFill/>
        </p:spPr>
        <p:txBody>
          <a:bodyPr lIns="0" tIns="0" rIns="0" bIns="0" numCol="1" spcCol="0" anchor="t">
            <a:noAutofit/>
          </a:bodyPr>
          <a:lstStyle>
            <a:lvl1pPr marL="0" indent="0" algn="l">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30" name="Text Placeholder 2">
            <a:extLst>
              <a:ext uri="{FF2B5EF4-FFF2-40B4-BE49-F238E27FC236}">
                <a16:creationId xmlns:a16="http://schemas.microsoft.com/office/drawing/2014/main" id="{80083247-8414-B279-9022-DAE75A7B6C5B}"/>
              </a:ext>
            </a:extLst>
          </p:cNvPr>
          <p:cNvSpPr>
            <a:spLocks noGrp="1"/>
          </p:cNvSpPr>
          <p:nvPr>
            <p:ph type="body" idx="37" hasCustomPrompt="1"/>
          </p:nvPr>
        </p:nvSpPr>
        <p:spPr>
          <a:xfrm>
            <a:off x="9845040" y="2401362"/>
            <a:ext cx="1508761" cy="521246"/>
          </a:xfrm>
          <a:noFill/>
        </p:spPr>
        <p:txBody>
          <a:bodyPr lIns="0" tIns="0" rIns="0" bIns="0" numCol="1" spcCol="0" anchor="t">
            <a:noAutofit/>
          </a:bodyPr>
          <a:lstStyle>
            <a:lvl1pPr marL="0" indent="0" algn="l">
              <a:lnSpc>
                <a:spcPct val="110000"/>
              </a:lnSpc>
              <a:spcAft>
                <a:spcPts val="800"/>
              </a:spcAft>
              <a:buNone/>
              <a:defRPr lang="en-US" sz="3600" b="0" cap="all" baseline="0" dirty="0" smtClean="0">
                <a:solidFill>
                  <a:schemeClr val="tx1"/>
                </a:solidFill>
                <a:latin typeface="Bahnschrif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AU" noProof="0"/>
              <a:t>00</a:t>
            </a:r>
          </a:p>
        </p:txBody>
      </p:sp>
      <p:sp>
        <p:nvSpPr>
          <p:cNvPr id="6" name="Slide Number Placeholder 5">
            <a:extLst>
              <a:ext uri="{FF2B5EF4-FFF2-40B4-BE49-F238E27FC236}">
                <a16:creationId xmlns:a16="http://schemas.microsoft.com/office/drawing/2014/main" id="{E6CF80DC-5A2E-35E3-9D0B-43CA963711F4}"/>
              </a:ext>
            </a:extLst>
          </p:cNvPr>
          <p:cNvSpPr>
            <a:spLocks noGrp="1"/>
          </p:cNvSpPr>
          <p:nvPr>
            <p:ph type="sldNum" sz="quarter" idx="39"/>
          </p:nvPr>
        </p:nvSpPr>
        <p:spPr/>
        <p:txBody>
          <a:bodyPr/>
          <a:lstStyle/>
          <a:p>
            <a:fld id="{E917DE0E-AFB1-41FD-BC35-27DB61CA125F}" type="slidenum">
              <a:rPr lang="en-AU" smtClean="0"/>
              <a:pPr/>
              <a:t>‹#›</a:t>
            </a:fld>
            <a:endParaRPr lang="en-AU"/>
          </a:p>
        </p:txBody>
      </p:sp>
      <p:sp>
        <p:nvSpPr>
          <p:cNvPr id="43" name="Content Placeholder 3">
            <a:extLst>
              <a:ext uri="{FF2B5EF4-FFF2-40B4-BE49-F238E27FC236}">
                <a16:creationId xmlns:a16="http://schemas.microsoft.com/office/drawing/2014/main" id="{CC8E9B85-5E9B-2036-E6C8-7B6ADAA60B27}"/>
              </a:ext>
            </a:extLst>
          </p:cNvPr>
          <p:cNvSpPr>
            <a:spLocks noGrp="1"/>
          </p:cNvSpPr>
          <p:nvPr>
            <p:ph sz="quarter" idx="45" hasCustomPrompt="1"/>
          </p:nvPr>
        </p:nvSpPr>
        <p:spPr>
          <a:xfrm>
            <a:off x="792480" y="3069754"/>
            <a:ext cx="1508760" cy="2247706"/>
          </a:xfrm>
        </p:spPr>
        <p:txBody>
          <a:bodyPr lIns="0" rIns="0" numCol="1" spcCol="0">
            <a:noAutofit/>
          </a:bodyPr>
          <a:lstStyle>
            <a:lvl1pPr algn="l">
              <a:spcBef>
                <a:spcPts val="0"/>
              </a:spcBef>
              <a:spcAft>
                <a:spcPts val="800"/>
              </a:spcAft>
              <a:defRPr lang="en-US" sz="1000" dirty="0" smtClean="0">
                <a:solidFill>
                  <a:schemeClr val="tx1"/>
                </a:solidFill>
              </a:defRPr>
            </a:lvl1pPr>
            <a:lvl2pPr algn="l">
              <a:spcBef>
                <a:spcPts val="0"/>
              </a:spcBef>
              <a:spcAft>
                <a:spcPts val="800"/>
              </a:spcAft>
              <a:defRPr lang="en-US" sz="1000" dirty="0">
                <a:solidFill>
                  <a:schemeClr val="tx1"/>
                </a:solidFill>
              </a:defRPr>
            </a:lvl2pPr>
            <a:lvl3pPr algn="l">
              <a:spcBef>
                <a:spcPts val="0"/>
              </a:spcBef>
              <a:spcAft>
                <a:spcPts val="800"/>
              </a:spcAft>
              <a:defRPr lang="en-US" sz="1000" dirty="0">
                <a:solidFill>
                  <a:schemeClr val="tx1"/>
                </a:solidFill>
              </a:defRPr>
            </a:lvl3pPr>
            <a:lvl4pPr algn="l">
              <a:spcAft>
                <a:spcPts val="600"/>
              </a:spcAft>
              <a:defRPr lang="en-US" sz="1200" cap="all" baseline="0" dirty="0">
                <a:solidFill>
                  <a:schemeClr val="tx1"/>
                </a:solidFill>
              </a:defRPr>
            </a:lvl4pPr>
            <a:lvl5pPr marL="0" marR="0" indent="0" algn="l" defTabSz="1088776" rtl="0" eaLnBrk="1" fontAlgn="auto" latinLnBrk="0" hangingPunct="1">
              <a:lnSpc>
                <a:spcPct val="110000"/>
              </a:lnSpc>
              <a:spcBef>
                <a:spcPts val="0"/>
              </a:spcBef>
              <a:spcAft>
                <a:spcPts val="800"/>
              </a:spcAft>
              <a:buClrTx/>
              <a:buSzTx/>
              <a:buFont typeface="Arial" pitchFamily="34" charset="0"/>
              <a:buNone/>
              <a:tabLst/>
              <a:defRPr lang="en-US" sz="1000" dirty="0" smtClean="0">
                <a:solidFill>
                  <a:schemeClr val="tx1"/>
                </a:solidFill>
              </a:defRPr>
            </a:lvl5pPr>
            <a:lvl6pPr algn="l">
              <a:defRPr lang="en-US" sz="900" dirty="0" smtClean="0">
                <a:solidFill>
                  <a:schemeClr val="tx1"/>
                </a:solidFill>
              </a:defRPr>
            </a:lvl6pPr>
            <a:lvl7pPr algn="l">
              <a:defRPr sz="1000">
                <a:solidFill>
                  <a:schemeClr val="tx1"/>
                </a:solidFill>
              </a:defRPr>
            </a:lvl7pPr>
            <a:lvl8pPr algn="l">
              <a:defRPr sz="1000">
                <a:solidFill>
                  <a:schemeClr val="tx1"/>
                </a:solidFill>
              </a:defRPr>
            </a:lvl8pPr>
            <a:lvl9pPr algn="l">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55" name="Content Placeholder 41">
            <a:extLst>
              <a:ext uri="{FF2B5EF4-FFF2-40B4-BE49-F238E27FC236}">
                <a16:creationId xmlns:a16="http://schemas.microsoft.com/office/drawing/2014/main" id="{9BDCA364-7F4B-0281-4D03-7AD8777C7845}"/>
              </a:ext>
            </a:extLst>
          </p:cNvPr>
          <p:cNvSpPr>
            <a:spLocks noGrp="1"/>
          </p:cNvSpPr>
          <p:nvPr>
            <p:ph sz="quarter" idx="53" hasCustomPrompt="1"/>
          </p:nvPr>
        </p:nvSpPr>
        <p:spPr>
          <a:xfrm>
            <a:off x="9670864" y="1591184"/>
            <a:ext cx="1961894" cy="659219"/>
          </a:xfrm>
          <a:prstGeom prst="chevron">
            <a:avLst>
              <a:gd name="adj" fmla="val 12915"/>
            </a:avLst>
          </a:prstGeom>
          <a:solidFill>
            <a:schemeClr val="bg2">
              <a:alpha val="75000"/>
            </a:schemeClr>
          </a:solidFill>
        </p:spPr>
        <p:txBody>
          <a:bodyPr lIns="144000" anchor="ctr" anchorCtr="0"/>
          <a:lstStyle>
            <a:lvl1pPr marL="0" algn="l" defTabSz="1088776" rtl="0" eaLnBrk="1" latinLnBrk="0" hangingPunct="1">
              <a:spcAft>
                <a:spcPts val="1000"/>
              </a:spcAft>
              <a:defRPr lang="en-AU" sz="2000" b="1" kern="1200" noProof="0" dirty="0">
                <a:solidFill>
                  <a:schemeClr val="bg1"/>
                </a:solidFill>
                <a:latin typeface="Bahnschrift SemiBold" panose="020B0502040204020203" pitchFamily="34" charset="0"/>
                <a:ea typeface="Roboto-Light"/>
                <a:cs typeface="+mn-cs"/>
                <a:rtl val="0"/>
              </a:defRPr>
            </a:lvl1pPr>
          </a:lstStyle>
          <a:p>
            <a:pPr lvl="0"/>
            <a:r>
              <a:rPr lang="en-AU" noProof="0"/>
              <a:t>Title Here</a:t>
            </a:r>
          </a:p>
        </p:txBody>
      </p:sp>
      <p:sp>
        <p:nvSpPr>
          <p:cNvPr id="56" name="Content Placeholder 41">
            <a:extLst>
              <a:ext uri="{FF2B5EF4-FFF2-40B4-BE49-F238E27FC236}">
                <a16:creationId xmlns:a16="http://schemas.microsoft.com/office/drawing/2014/main" id="{FB4E4C80-6842-52E1-E0CD-2FF1F0676767}"/>
              </a:ext>
            </a:extLst>
          </p:cNvPr>
          <p:cNvSpPr>
            <a:spLocks noGrp="1"/>
          </p:cNvSpPr>
          <p:nvPr>
            <p:ph sz="quarter" idx="54" hasCustomPrompt="1"/>
          </p:nvPr>
        </p:nvSpPr>
        <p:spPr>
          <a:xfrm>
            <a:off x="7829093" y="1591184"/>
            <a:ext cx="1902282" cy="659219"/>
          </a:xfrm>
          <a:prstGeom prst="chevron">
            <a:avLst>
              <a:gd name="adj" fmla="val 12915"/>
            </a:avLst>
          </a:prstGeom>
          <a:solidFill>
            <a:schemeClr val="bg2"/>
          </a:solidFill>
        </p:spPr>
        <p:txBody>
          <a:bodyPr lIns="144000" anchor="ctr" anchorCtr="0"/>
          <a:lstStyle>
            <a:lvl1pPr marL="0" algn="l" defTabSz="1088776" rtl="0" eaLnBrk="1" latinLnBrk="0" hangingPunct="1">
              <a:spcAft>
                <a:spcPts val="1000"/>
              </a:spcAft>
              <a:defRPr lang="en-AU" sz="2000" b="1" kern="1200" noProof="0" dirty="0">
                <a:solidFill>
                  <a:schemeClr val="bg1"/>
                </a:solidFill>
                <a:latin typeface="Bahnschrift SemiBold" panose="020B0502040204020203" pitchFamily="34" charset="0"/>
                <a:ea typeface="Roboto-Light"/>
                <a:cs typeface="+mn-cs"/>
                <a:rtl val="0"/>
              </a:defRPr>
            </a:lvl1pPr>
          </a:lstStyle>
          <a:p>
            <a:pPr lvl="0"/>
            <a:r>
              <a:rPr lang="en-AU" noProof="0"/>
              <a:t>Title Here</a:t>
            </a:r>
          </a:p>
        </p:txBody>
      </p:sp>
      <p:sp>
        <p:nvSpPr>
          <p:cNvPr id="57" name="Content Placeholder 41">
            <a:extLst>
              <a:ext uri="{FF2B5EF4-FFF2-40B4-BE49-F238E27FC236}">
                <a16:creationId xmlns:a16="http://schemas.microsoft.com/office/drawing/2014/main" id="{06C238D3-5BEB-2A10-7094-F46560BFA1A8}"/>
              </a:ext>
            </a:extLst>
          </p:cNvPr>
          <p:cNvSpPr>
            <a:spLocks noGrp="1"/>
          </p:cNvSpPr>
          <p:nvPr>
            <p:ph sz="quarter" idx="55" hasCustomPrompt="1"/>
          </p:nvPr>
        </p:nvSpPr>
        <p:spPr>
          <a:xfrm>
            <a:off x="6029139" y="1591184"/>
            <a:ext cx="1870261" cy="659219"/>
          </a:xfrm>
          <a:prstGeom prst="chevron">
            <a:avLst>
              <a:gd name="adj" fmla="val 12915"/>
            </a:avLst>
          </a:prstGeom>
          <a:solidFill>
            <a:schemeClr val="bg2">
              <a:alpha val="75000"/>
            </a:schemeClr>
          </a:solidFill>
        </p:spPr>
        <p:txBody>
          <a:bodyPr lIns="144000" anchor="ctr" anchorCtr="0"/>
          <a:lstStyle>
            <a:lvl1pPr marL="0" algn="l" defTabSz="1088776" rtl="0" eaLnBrk="1" latinLnBrk="0" hangingPunct="1">
              <a:spcAft>
                <a:spcPts val="1000"/>
              </a:spcAft>
              <a:defRPr lang="en-AU" sz="2000" b="1" kern="1200" noProof="0" dirty="0">
                <a:solidFill>
                  <a:schemeClr val="bg1"/>
                </a:solidFill>
                <a:latin typeface="Bahnschrift SemiBold" panose="020B0502040204020203" pitchFamily="34" charset="0"/>
                <a:ea typeface="Roboto-Light"/>
                <a:cs typeface="+mn-cs"/>
                <a:rtl val="0"/>
              </a:defRPr>
            </a:lvl1pPr>
          </a:lstStyle>
          <a:p>
            <a:pPr lvl="0"/>
            <a:r>
              <a:rPr lang="en-AU" noProof="0"/>
              <a:t>Title Here</a:t>
            </a:r>
          </a:p>
        </p:txBody>
      </p:sp>
      <p:sp>
        <p:nvSpPr>
          <p:cNvPr id="58" name="Content Placeholder 41">
            <a:extLst>
              <a:ext uri="{FF2B5EF4-FFF2-40B4-BE49-F238E27FC236}">
                <a16:creationId xmlns:a16="http://schemas.microsoft.com/office/drawing/2014/main" id="{1C6F6BAC-B316-F2FE-099E-1A536A127439}"/>
              </a:ext>
            </a:extLst>
          </p:cNvPr>
          <p:cNvSpPr>
            <a:spLocks noGrp="1"/>
          </p:cNvSpPr>
          <p:nvPr>
            <p:ph sz="quarter" idx="56" hasCustomPrompt="1"/>
          </p:nvPr>
        </p:nvSpPr>
        <p:spPr>
          <a:xfrm>
            <a:off x="4228642" y="1591184"/>
            <a:ext cx="1870261" cy="659219"/>
          </a:xfrm>
          <a:prstGeom prst="chevron">
            <a:avLst>
              <a:gd name="adj" fmla="val 12915"/>
            </a:avLst>
          </a:prstGeom>
          <a:solidFill>
            <a:schemeClr val="bg2"/>
          </a:solidFill>
        </p:spPr>
        <p:txBody>
          <a:bodyPr lIns="144000" anchor="ctr" anchorCtr="0"/>
          <a:lstStyle>
            <a:lvl1pPr marL="0" algn="l" defTabSz="1088776" rtl="0" eaLnBrk="1" latinLnBrk="0" hangingPunct="1">
              <a:spcAft>
                <a:spcPts val="1000"/>
              </a:spcAft>
              <a:defRPr lang="en-AU" sz="2000" b="1" kern="1200" noProof="0" dirty="0">
                <a:solidFill>
                  <a:schemeClr val="bg1"/>
                </a:solidFill>
                <a:latin typeface="Bahnschrift SemiBold" panose="020B0502040204020203" pitchFamily="34" charset="0"/>
                <a:ea typeface="Roboto-Light"/>
                <a:cs typeface="+mn-cs"/>
                <a:rtl val="0"/>
              </a:defRPr>
            </a:lvl1pPr>
          </a:lstStyle>
          <a:p>
            <a:pPr lvl="0"/>
            <a:r>
              <a:rPr lang="en-AU" noProof="0"/>
              <a:t>Title Here</a:t>
            </a:r>
          </a:p>
        </p:txBody>
      </p:sp>
      <p:sp>
        <p:nvSpPr>
          <p:cNvPr id="59" name="Content Placeholder 41">
            <a:extLst>
              <a:ext uri="{FF2B5EF4-FFF2-40B4-BE49-F238E27FC236}">
                <a16:creationId xmlns:a16="http://schemas.microsoft.com/office/drawing/2014/main" id="{BD95BED4-AF9C-B9B2-774C-2B7C961461D7}"/>
              </a:ext>
            </a:extLst>
          </p:cNvPr>
          <p:cNvSpPr>
            <a:spLocks noGrp="1"/>
          </p:cNvSpPr>
          <p:nvPr>
            <p:ph sz="quarter" idx="44" hasCustomPrompt="1"/>
          </p:nvPr>
        </p:nvSpPr>
        <p:spPr>
          <a:xfrm>
            <a:off x="0" y="1591184"/>
            <a:ext cx="2497138" cy="659219"/>
          </a:xfrm>
          <a:prstGeom prst="homePlate">
            <a:avLst>
              <a:gd name="adj" fmla="val 13667"/>
            </a:avLst>
          </a:prstGeom>
          <a:solidFill>
            <a:schemeClr val="bg2"/>
          </a:solidFill>
        </p:spPr>
        <p:txBody>
          <a:bodyPr lIns="792000" anchor="ctr" anchorCtr="0"/>
          <a:lstStyle>
            <a:lvl1pPr marL="0" algn="l" defTabSz="1088776" rtl="0" eaLnBrk="1" latinLnBrk="0" hangingPunct="1">
              <a:spcAft>
                <a:spcPts val="1000"/>
              </a:spcAft>
              <a:defRPr lang="en-AU" sz="2000" b="1" kern="1200" noProof="0" dirty="0">
                <a:solidFill>
                  <a:schemeClr val="bg1"/>
                </a:solidFill>
                <a:latin typeface="Bahnschrift SemiBold" panose="020B0502040204020203" pitchFamily="34" charset="0"/>
                <a:ea typeface="Roboto-Light"/>
                <a:cs typeface="+mn-cs"/>
                <a:rtl val="0"/>
              </a:defRPr>
            </a:lvl1pPr>
          </a:lstStyle>
          <a:p>
            <a:pPr lvl="0"/>
            <a:r>
              <a:rPr lang="en-AU" noProof="0"/>
              <a:t>Title Here</a:t>
            </a:r>
          </a:p>
        </p:txBody>
      </p:sp>
      <p:sp>
        <p:nvSpPr>
          <p:cNvPr id="60" name="Content Placeholder 41">
            <a:extLst>
              <a:ext uri="{FF2B5EF4-FFF2-40B4-BE49-F238E27FC236}">
                <a16:creationId xmlns:a16="http://schemas.microsoft.com/office/drawing/2014/main" id="{D520A1AC-8D04-5D02-AE2A-09FA8893C567}"/>
              </a:ext>
            </a:extLst>
          </p:cNvPr>
          <p:cNvSpPr>
            <a:spLocks noGrp="1"/>
          </p:cNvSpPr>
          <p:nvPr>
            <p:ph sz="quarter" idx="57" hasCustomPrompt="1"/>
          </p:nvPr>
        </p:nvSpPr>
        <p:spPr>
          <a:xfrm>
            <a:off x="2428688" y="1591184"/>
            <a:ext cx="1870261" cy="659219"/>
          </a:xfrm>
          <a:prstGeom prst="chevron">
            <a:avLst>
              <a:gd name="adj" fmla="val 12915"/>
            </a:avLst>
          </a:prstGeom>
          <a:solidFill>
            <a:schemeClr val="bg2">
              <a:alpha val="75000"/>
            </a:schemeClr>
          </a:solidFill>
        </p:spPr>
        <p:txBody>
          <a:bodyPr lIns="144000" anchor="ctr" anchorCtr="0"/>
          <a:lstStyle>
            <a:lvl1pPr marL="0" algn="l" defTabSz="1088776" rtl="0" eaLnBrk="1" latinLnBrk="0" hangingPunct="1">
              <a:spcAft>
                <a:spcPts val="1000"/>
              </a:spcAft>
              <a:defRPr lang="en-AU" sz="2000" b="1" kern="1200" noProof="0" dirty="0">
                <a:solidFill>
                  <a:schemeClr val="bg1"/>
                </a:solidFill>
                <a:latin typeface="Bahnschrift SemiBold" panose="020B0502040204020203" pitchFamily="34" charset="0"/>
                <a:ea typeface="Roboto-Light"/>
                <a:cs typeface="+mn-cs"/>
                <a:rtl val="0"/>
              </a:defRPr>
            </a:lvl1pPr>
          </a:lstStyle>
          <a:p>
            <a:pPr lvl="0"/>
            <a:r>
              <a:rPr lang="en-AU" noProof="0"/>
              <a:t>Title Here</a:t>
            </a:r>
          </a:p>
        </p:txBody>
      </p:sp>
      <p:sp>
        <p:nvSpPr>
          <p:cNvPr id="7" name="Freeform 5">
            <a:extLst>
              <a:ext uri="{FF2B5EF4-FFF2-40B4-BE49-F238E27FC236}">
                <a16:creationId xmlns:a16="http://schemas.microsoft.com/office/drawing/2014/main" id="{36DA03DD-13DF-9D3D-2C15-C5F92B9A67E6}"/>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8" name="Straight Connector 7">
            <a:extLst>
              <a:ext uri="{FF2B5EF4-FFF2-40B4-BE49-F238E27FC236}">
                <a16:creationId xmlns:a16="http://schemas.microsoft.com/office/drawing/2014/main" id="{41CF62C9-2361-616C-047C-04B1507ED699}"/>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14">
            <a:extLst>
              <a:ext uri="{FF2B5EF4-FFF2-40B4-BE49-F238E27FC236}">
                <a16:creationId xmlns:a16="http://schemas.microsoft.com/office/drawing/2014/main" id="{967C02D8-7728-0226-F97C-E07D0849D47D}"/>
              </a:ext>
            </a:extLst>
          </p:cNvPr>
          <p:cNvSpPr>
            <a:spLocks noGrp="1"/>
          </p:cNvSpPr>
          <p:nvPr>
            <p:ph type="pic" sz="quarter" idx="63" hasCustomPrompt="1"/>
          </p:nvPr>
        </p:nvSpPr>
        <p:spPr>
          <a:xfrm>
            <a:off x="791028" y="5754098"/>
            <a:ext cx="484777" cy="484775"/>
          </a:xfrm>
          <a:prstGeom prst="rect">
            <a:avLst/>
          </a:prstGeom>
        </p:spPr>
        <p:txBody>
          <a:bodyPr anchor="ctr" anchorCtr="0"/>
          <a:lstStyle>
            <a:lvl1pPr algn="ctr">
              <a:defRPr sz="1200"/>
            </a:lvl1pPr>
            <a:lvl5pPr algn="ctr">
              <a:defRPr sz="900">
                <a:solidFill>
                  <a:schemeClr val="tx1"/>
                </a:solidFill>
                <a:latin typeface="+mn-lt"/>
              </a:defRPr>
            </a:lvl5pPr>
          </a:lstStyle>
          <a:p>
            <a:pPr lvl="4"/>
            <a:r>
              <a:rPr lang="en-AU"/>
              <a:t>Click icon to insert picture </a:t>
            </a:r>
          </a:p>
        </p:txBody>
      </p:sp>
      <p:sp>
        <p:nvSpPr>
          <p:cNvPr id="15" name="Picture Placeholder 14">
            <a:extLst>
              <a:ext uri="{FF2B5EF4-FFF2-40B4-BE49-F238E27FC236}">
                <a16:creationId xmlns:a16="http://schemas.microsoft.com/office/drawing/2014/main" id="{DA9E560B-A448-CC5F-79C3-9184A321C334}"/>
              </a:ext>
            </a:extLst>
          </p:cNvPr>
          <p:cNvSpPr>
            <a:spLocks noGrp="1"/>
          </p:cNvSpPr>
          <p:nvPr>
            <p:ph type="pic" sz="quarter" idx="64" hasCustomPrompt="1"/>
          </p:nvPr>
        </p:nvSpPr>
        <p:spPr>
          <a:xfrm>
            <a:off x="2641600" y="5754098"/>
            <a:ext cx="484777" cy="484775"/>
          </a:xfrm>
          <a:prstGeom prst="rect">
            <a:avLst/>
          </a:prstGeom>
        </p:spPr>
        <p:txBody>
          <a:bodyPr anchor="ctr" anchorCtr="0"/>
          <a:lstStyle>
            <a:lvl1pPr algn="ctr">
              <a:defRPr sz="1200"/>
            </a:lvl1pPr>
            <a:lvl5pPr algn="ctr">
              <a:defRPr sz="900">
                <a:solidFill>
                  <a:schemeClr val="tx1"/>
                </a:solidFill>
                <a:latin typeface="+mn-lt"/>
              </a:defRPr>
            </a:lvl5pPr>
          </a:lstStyle>
          <a:p>
            <a:pPr lvl="4"/>
            <a:r>
              <a:rPr lang="en-AU"/>
              <a:t>Click icon to insert picture </a:t>
            </a:r>
          </a:p>
        </p:txBody>
      </p:sp>
      <p:sp>
        <p:nvSpPr>
          <p:cNvPr id="19" name="Picture Placeholder 14">
            <a:extLst>
              <a:ext uri="{FF2B5EF4-FFF2-40B4-BE49-F238E27FC236}">
                <a16:creationId xmlns:a16="http://schemas.microsoft.com/office/drawing/2014/main" id="{B5CED02E-968A-B2B7-278D-6FF763D41441}"/>
              </a:ext>
            </a:extLst>
          </p:cNvPr>
          <p:cNvSpPr>
            <a:spLocks noGrp="1"/>
          </p:cNvSpPr>
          <p:nvPr>
            <p:ph type="pic" sz="quarter" idx="65" hasCustomPrompt="1"/>
          </p:nvPr>
        </p:nvSpPr>
        <p:spPr>
          <a:xfrm>
            <a:off x="4439920" y="5754098"/>
            <a:ext cx="484777" cy="484775"/>
          </a:xfrm>
          <a:prstGeom prst="rect">
            <a:avLst/>
          </a:prstGeom>
        </p:spPr>
        <p:txBody>
          <a:bodyPr anchor="ctr" anchorCtr="0"/>
          <a:lstStyle>
            <a:lvl1pPr algn="ctr">
              <a:defRPr sz="1200"/>
            </a:lvl1pPr>
            <a:lvl5pPr algn="ctr">
              <a:defRPr sz="900">
                <a:solidFill>
                  <a:schemeClr val="tx1"/>
                </a:solidFill>
                <a:latin typeface="+mn-lt"/>
              </a:defRPr>
            </a:lvl5pPr>
          </a:lstStyle>
          <a:p>
            <a:pPr lvl="4"/>
            <a:r>
              <a:rPr lang="en-AU"/>
              <a:t>Click icon to insert picture </a:t>
            </a:r>
          </a:p>
        </p:txBody>
      </p:sp>
      <p:sp>
        <p:nvSpPr>
          <p:cNvPr id="20" name="Picture Placeholder 14">
            <a:extLst>
              <a:ext uri="{FF2B5EF4-FFF2-40B4-BE49-F238E27FC236}">
                <a16:creationId xmlns:a16="http://schemas.microsoft.com/office/drawing/2014/main" id="{97896974-D8FF-880B-932B-EEE1F8803A3F}"/>
              </a:ext>
            </a:extLst>
          </p:cNvPr>
          <p:cNvSpPr>
            <a:spLocks noGrp="1"/>
          </p:cNvSpPr>
          <p:nvPr>
            <p:ph type="pic" sz="quarter" idx="66" hasCustomPrompt="1"/>
          </p:nvPr>
        </p:nvSpPr>
        <p:spPr>
          <a:xfrm>
            <a:off x="6252210" y="5754098"/>
            <a:ext cx="484777" cy="484775"/>
          </a:xfrm>
          <a:prstGeom prst="rect">
            <a:avLst/>
          </a:prstGeom>
        </p:spPr>
        <p:txBody>
          <a:bodyPr anchor="ctr" anchorCtr="0"/>
          <a:lstStyle>
            <a:lvl1pPr algn="ctr">
              <a:defRPr sz="1200"/>
            </a:lvl1pPr>
            <a:lvl5pPr algn="ctr">
              <a:defRPr sz="900">
                <a:solidFill>
                  <a:schemeClr val="tx1"/>
                </a:solidFill>
                <a:latin typeface="+mn-lt"/>
              </a:defRPr>
            </a:lvl5pPr>
          </a:lstStyle>
          <a:p>
            <a:pPr lvl="4"/>
            <a:r>
              <a:rPr lang="en-AU"/>
              <a:t>Click icon to insert picture </a:t>
            </a:r>
          </a:p>
        </p:txBody>
      </p:sp>
      <p:sp>
        <p:nvSpPr>
          <p:cNvPr id="25" name="Picture Placeholder 14">
            <a:extLst>
              <a:ext uri="{FF2B5EF4-FFF2-40B4-BE49-F238E27FC236}">
                <a16:creationId xmlns:a16="http://schemas.microsoft.com/office/drawing/2014/main" id="{AB40EC14-E90F-D9FC-3D3D-727534DAB429}"/>
              </a:ext>
            </a:extLst>
          </p:cNvPr>
          <p:cNvSpPr>
            <a:spLocks noGrp="1"/>
          </p:cNvSpPr>
          <p:nvPr>
            <p:ph type="pic" sz="quarter" idx="67" hasCustomPrompt="1"/>
          </p:nvPr>
        </p:nvSpPr>
        <p:spPr>
          <a:xfrm>
            <a:off x="8044814" y="5754098"/>
            <a:ext cx="484777" cy="484775"/>
          </a:xfrm>
          <a:prstGeom prst="rect">
            <a:avLst/>
          </a:prstGeom>
        </p:spPr>
        <p:txBody>
          <a:bodyPr anchor="ctr" anchorCtr="0"/>
          <a:lstStyle>
            <a:lvl1pPr algn="ctr">
              <a:defRPr sz="1200"/>
            </a:lvl1pPr>
            <a:lvl5pPr algn="ctr">
              <a:defRPr sz="900">
                <a:solidFill>
                  <a:schemeClr val="tx1"/>
                </a:solidFill>
                <a:latin typeface="+mn-lt"/>
              </a:defRPr>
            </a:lvl5pPr>
          </a:lstStyle>
          <a:p>
            <a:pPr lvl="4"/>
            <a:r>
              <a:rPr lang="en-AU"/>
              <a:t>Click icon to insert picture </a:t>
            </a:r>
          </a:p>
        </p:txBody>
      </p:sp>
      <p:sp>
        <p:nvSpPr>
          <p:cNvPr id="26" name="Picture Placeholder 14">
            <a:extLst>
              <a:ext uri="{FF2B5EF4-FFF2-40B4-BE49-F238E27FC236}">
                <a16:creationId xmlns:a16="http://schemas.microsoft.com/office/drawing/2014/main" id="{04A967A5-2D87-66C7-B7C3-92CB3EB7FF70}"/>
              </a:ext>
            </a:extLst>
          </p:cNvPr>
          <p:cNvSpPr>
            <a:spLocks noGrp="1"/>
          </p:cNvSpPr>
          <p:nvPr>
            <p:ph type="pic" sz="quarter" idx="68" hasCustomPrompt="1"/>
          </p:nvPr>
        </p:nvSpPr>
        <p:spPr>
          <a:xfrm>
            <a:off x="9845040" y="5754098"/>
            <a:ext cx="484777" cy="484775"/>
          </a:xfrm>
          <a:prstGeom prst="rect">
            <a:avLst/>
          </a:prstGeom>
        </p:spPr>
        <p:txBody>
          <a:bodyPr anchor="ctr" anchorCtr="0"/>
          <a:lstStyle>
            <a:lvl1pPr algn="ctr">
              <a:defRPr sz="1200"/>
            </a:lvl1pPr>
            <a:lvl5pPr algn="ctr">
              <a:defRPr sz="900">
                <a:solidFill>
                  <a:schemeClr val="tx1"/>
                </a:solidFill>
                <a:latin typeface="+mn-lt"/>
              </a:defRPr>
            </a:lvl5pPr>
          </a:lstStyle>
          <a:p>
            <a:pPr lvl="4"/>
            <a:r>
              <a:rPr lang="en-AU"/>
              <a:t>Click icon to insert picture </a:t>
            </a:r>
          </a:p>
        </p:txBody>
      </p:sp>
      <p:sp>
        <p:nvSpPr>
          <p:cNvPr id="12" name="Content Placeholder 3">
            <a:extLst>
              <a:ext uri="{FF2B5EF4-FFF2-40B4-BE49-F238E27FC236}">
                <a16:creationId xmlns:a16="http://schemas.microsoft.com/office/drawing/2014/main" id="{0D41C12B-1EB6-BCCE-3C6A-EA252FC43930}"/>
              </a:ext>
            </a:extLst>
          </p:cNvPr>
          <p:cNvSpPr>
            <a:spLocks noGrp="1"/>
          </p:cNvSpPr>
          <p:nvPr>
            <p:ph sz="quarter" idx="69" hasCustomPrompt="1"/>
          </p:nvPr>
        </p:nvSpPr>
        <p:spPr>
          <a:xfrm>
            <a:off x="2640103" y="3069754"/>
            <a:ext cx="1508760" cy="2247706"/>
          </a:xfrm>
        </p:spPr>
        <p:txBody>
          <a:bodyPr lIns="0" rIns="0" numCol="1" spcCol="0">
            <a:noAutofit/>
          </a:bodyPr>
          <a:lstStyle>
            <a:lvl1pPr algn="l">
              <a:spcBef>
                <a:spcPts val="0"/>
              </a:spcBef>
              <a:spcAft>
                <a:spcPts val="800"/>
              </a:spcAft>
              <a:defRPr lang="en-US" sz="1000" dirty="0" smtClean="0">
                <a:solidFill>
                  <a:schemeClr val="tx1"/>
                </a:solidFill>
              </a:defRPr>
            </a:lvl1pPr>
            <a:lvl2pPr algn="l">
              <a:spcBef>
                <a:spcPts val="0"/>
              </a:spcBef>
              <a:spcAft>
                <a:spcPts val="800"/>
              </a:spcAft>
              <a:defRPr lang="en-US" sz="1000" dirty="0">
                <a:solidFill>
                  <a:schemeClr val="tx1"/>
                </a:solidFill>
              </a:defRPr>
            </a:lvl2pPr>
            <a:lvl3pPr algn="l">
              <a:spcBef>
                <a:spcPts val="0"/>
              </a:spcBef>
              <a:spcAft>
                <a:spcPts val="800"/>
              </a:spcAft>
              <a:defRPr lang="en-US" sz="1000" dirty="0">
                <a:solidFill>
                  <a:schemeClr val="tx1"/>
                </a:solidFill>
              </a:defRPr>
            </a:lvl3pPr>
            <a:lvl4pPr algn="l">
              <a:spcAft>
                <a:spcPts val="600"/>
              </a:spcAft>
              <a:defRPr lang="en-US" sz="1200" cap="all" baseline="0" dirty="0">
                <a:solidFill>
                  <a:schemeClr val="tx1"/>
                </a:solidFill>
              </a:defRPr>
            </a:lvl4pPr>
            <a:lvl5pPr marL="0" marR="0" indent="0" algn="l" defTabSz="1088776" rtl="0" eaLnBrk="1" fontAlgn="auto" latinLnBrk="0" hangingPunct="1">
              <a:lnSpc>
                <a:spcPct val="110000"/>
              </a:lnSpc>
              <a:spcBef>
                <a:spcPts val="0"/>
              </a:spcBef>
              <a:spcAft>
                <a:spcPts val="800"/>
              </a:spcAft>
              <a:buClrTx/>
              <a:buSzTx/>
              <a:buFont typeface="Arial" pitchFamily="34" charset="0"/>
              <a:buNone/>
              <a:tabLst/>
              <a:defRPr lang="en-US" sz="1000" dirty="0" smtClean="0">
                <a:solidFill>
                  <a:schemeClr val="tx1"/>
                </a:solidFill>
              </a:defRPr>
            </a:lvl5pPr>
            <a:lvl6pPr algn="l">
              <a:defRPr lang="en-US" sz="900" dirty="0" smtClean="0">
                <a:solidFill>
                  <a:schemeClr val="tx1"/>
                </a:solidFill>
              </a:defRPr>
            </a:lvl6pPr>
            <a:lvl7pPr algn="l">
              <a:defRPr sz="1000">
                <a:solidFill>
                  <a:schemeClr val="tx1"/>
                </a:solidFill>
              </a:defRPr>
            </a:lvl7pPr>
            <a:lvl8pPr algn="l">
              <a:defRPr sz="1000">
                <a:solidFill>
                  <a:schemeClr val="tx1"/>
                </a:solidFill>
              </a:defRPr>
            </a:lvl8pPr>
            <a:lvl9pPr algn="l">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4" name="Content Placeholder 3">
            <a:extLst>
              <a:ext uri="{FF2B5EF4-FFF2-40B4-BE49-F238E27FC236}">
                <a16:creationId xmlns:a16="http://schemas.microsoft.com/office/drawing/2014/main" id="{C69416C6-ADFA-9125-413F-0F70C2631930}"/>
              </a:ext>
            </a:extLst>
          </p:cNvPr>
          <p:cNvSpPr>
            <a:spLocks noGrp="1"/>
          </p:cNvSpPr>
          <p:nvPr>
            <p:ph sz="quarter" idx="70" hasCustomPrompt="1"/>
          </p:nvPr>
        </p:nvSpPr>
        <p:spPr>
          <a:xfrm>
            <a:off x="4443569" y="3069754"/>
            <a:ext cx="1508760" cy="2247706"/>
          </a:xfrm>
        </p:spPr>
        <p:txBody>
          <a:bodyPr lIns="0" rIns="0" numCol="1" spcCol="0">
            <a:noAutofit/>
          </a:bodyPr>
          <a:lstStyle>
            <a:lvl1pPr algn="l">
              <a:spcBef>
                <a:spcPts val="0"/>
              </a:spcBef>
              <a:spcAft>
                <a:spcPts val="800"/>
              </a:spcAft>
              <a:defRPr lang="en-US" sz="1000" dirty="0" smtClean="0">
                <a:solidFill>
                  <a:schemeClr val="tx1"/>
                </a:solidFill>
              </a:defRPr>
            </a:lvl1pPr>
            <a:lvl2pPr algn="l">
              <a:spcBef>
                <a:spcPts val="0"/>
              </a:spcBef>
              <a:spcAft>
                <a:spcPts val="800"/>
              </a:spcAft>
              <a:defRPr lang="en-US" sz="1000" dirty="0">
                <a:solidFill>
                  <a:schemeClr val="tx1"/>
                </a:solidFill>
              </a:defRPr>
            </a:lvl2pPr>
            <a:lvl3pPr algn="l">
              <a:spcBef>
                <a:spcPts val="0"/>
              </a:spcBef>
              <a:spcAft>
                <a:spcPts val="800"/>
              </a:spcAft>
              <a:defRPr lang="en-US" sz="1000" dirty="0">
                <a:solidFill>
                  <a:schemeClr val="tx1"/>
                </a:solidFill>
              </a:defRPr>
            </a:lvl3pPr>
            <a:lvl4pPr algn="l">
              <a:spcAft>
                <a:spcPts val="600"/>
              </a:spcAft>
              <a:defRPr lang="en-US" sz="1200" cap="all" baseline="0" dirty="0">
                <a:solidFill>
                  <a:schemeClr val="tx1"/>
                </a:solidFill>
              </a:defRPr>
            </a:lvl4pPr>
            <a:lvl5pPr marL="0" marR="0" indent="0" algn="l" defTabSz="1088776" rtl="0" eaLnBrk="1" fontAlgn="auto" latinLnBrk="0" hangingPunct="1">
              <a:lnSpc>
                <a:spcPct val="110000"/>
              </a:lnSpc>
              <a:spcBef>
                <a:spcPts val="0"/>
              </a:spcBef>
              <a:spcAft>
                <a:spcPts val="800"/>
              </a:spcAft>
              <a:buClrTx/>
              <a:buSzTx/>
              <a:buFont typeface="Arial" pitchFamily="34" charset="0"/>
              <a:buNone/>
              <a:tabLst/>
              <a:defRPr lang="en-US" sz="1000" dirty="0" smtClean="0">
                <a:solidFill>
                  <a:schemeClr val="tx1"/>
                </a:solidFill>
              </a:defRPr>
            </a:lvl5pPr>
            <a:lvl6pPr algn="l">
              <a:defRPr lang="en-US" sz="900" dirty="0" smtClean="0">
                <a:solidFill>
                  <a:schemeClr val="tx1"/>
                </a:solidFill>
              </a:defRPr>
            </a:lvl6pPr>
            <a:lvl7pPr algn="l">
              <a:defRPr sz="1000">
                <a:solidFill>
                  <a:schemeClr val="tx1"/>
                </a:solidFill>
              </a:defRPr>
            </a:lvl7pPr>
            <a:lvl8pPr algn="l">
              <a:defRPr sz="1000">
                <a:solidFill>
                  <a:schemeClr val="tx1"/>
                </a:solidFill>
              </a:defRPr>
            </a:lvl8pPr>
            <a:lvl9pPr algn="l">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6" name="Content Placeholder 3">
            <a:extLst>
              <a:ext uri="{FF2B5EF4-FFF2-40B4-BE49-F238E27FC236}">
                <a16:creationId xmlns:a16="http://schemas.microsoft.com/office/drawing/2014/main" id="{E5E94988-D105-B7CD-50EF-23D9D1F55F19}"/>
              </a:ext>
            </a:extLst>
          </p:cNvPr>
          <p:cNvSpPr>
            <a:spLocks noGrp="1"/>
          </p:cNvSpPr>
          <p:nvPr>
            <p:ph sz="quarter" idx="71" hasCustomPrompt="1"/>
          </p:nvPr>
        </p:nvSpPr>
        <p:spPr>
          <a:xfrm>
            <a:off x="6238240" y="3069754"/>
            <a:ext cx="1508760" cy="2247706"/>
          </a:xfrm>
        </p:spPr>
        <p:txBody>
          <a:bodyPr lIns="0" rIns="0" numCol="1" spcCol="0">
            <a:noAutofit/>
          </a:bodyPr>
          <a:lstStyle>
            <a:lvl1pPr algn="l">
              <a:spcBef>
                <a:spcPts val="0"/>
              </a:spcBef>
              <a:spcAft>
                <a:spcPts val="800"/>
              </a:spcAft>
              <a:defRPr lang="en-US" sz="1000" dirty="0" smtClean="0">
                <a:solidFill>
                  <a:schemeClr val="tx1"/>
                </a:solidFill>
              </a:defRPr>
            </a:lvl1pPr>
            <a:lvl2pPr algn="l">
              <a:spcBef>
                <a:spcPts val="0"/>
              </a:spcBef>
              <a:spcAft>
                <a:spcPts val="800"/>
              </a:spcAft>
              <a:defRPr lang="en-US" sz="1000" dirty="0">
                <a:solidFill>
                  <a:schemeClr val="tx1"/>
                </a:solidFill>
              </a:defRPr>
            </a:lvl2pPr>
            <a:lvl3pPr algn="l">
              <a:spcBef>
                <a:spcPts val="0"/>
              </a:spcBef>
              <a:spcAft>
                <a:spcPts val="800"/>
              </a:spcAft>
              <a:defRPr lang="en-US" sz="1000" dirty="0">
                <a:solidFill>
                  <a:schemeClr val="tx1"/>
                </a:solidFill>
              </a:defRPr>
            </a:lvl3pPr>
            <a:lvl4pPr algn="l">
              <a:spcAft>
                <a:spcPts val="600"/>
              </a:spcAft>
              <a:defRPr lang="en-US" sz="1200" cap="all" baseline="0" dirty="0">
                <a:solidFill>
                  <a:schemeClr val="tx1"/>
                </a:solidFill>
              </a:defRPr>
            </a:lvl4pPr>
            <a:lvl5pPr marL="0" marR="0" indent="0" algn="l" defTabSz="1088776" rtl="0" eaLnBrk="1" fontAlgn="auto" latinLnBrk="0" hangingPunct="1">
              <a:lnSpc>
                <a:spcPct val="110000"/>
              </a:lnSpc>
              <a:spcBef>
                <a:spcPts val="0"/>
              </a:spcBef>
              <a:spcAft>
                <a:spcPts val="800"/>
              </a:spcAft>
              <a:buClrTx/>
              <a:buSzTx/>
              <a:buFont typeface="Arial" pitchFamily="34" charset="0"/>
              <a:buNone/>
              <a:tabLst/>
              <a:defRPr lang="en-US" sz="1000" dirty="0" smtClean="0">
                <a:solidFill>
                  <a:schemeClr val="tx1"/>
                </a:solidFill>
              </a:defRPr>
            </a:lvl5pPr>
            <a:lvl6pPr algn="l">
              <a:defRPr lang="en-US" sz="900" dirty="0" smtClean="0">
                <a:solidFill>
                  <a:schemeClr val="tx1"/>
                </a:solidFill>
              </a:defRPr>
            </a:lvl6pPr>
            <a:lvl7pPr algn="l">
              <a:defRPr sz="1000">
                <a:solidFill>
                  <a:schemeClr val="tx1"/>
                </a:solidFill>
              </a:defRPr>
            </a:lvl7pPr>
            <a:lvl8pPr algn="l">
              <a:defRPr sz="1000">
                <a:solidFill>
                  <a:schemeClr val="tx1"/>
                </a:solidFill>
              </a:defRPr>
            </a:lvl8pPr>
            <a:lvl9pPr algn="l">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7" name="Content Placeholder 3">
            <a:extLst>
              <a:ext uri="{FF2B5EF4-FFF2-40B4-BE49-F238E27FC236}">
                <a16:creationId xmlns:a16="http://schemas.microsoft.com/office/drawing/2014/main" id="{900AE981-F585-EE40-0B58-FE9AAEB2F16C}"/>
              </a:ext>
            </a:extLst>
          </p:cNvPr>
          <p:cNvSpPr>
            <a:spLocks noGrp="1"/>
          </p:cNvSpPr>
          <p:nvPr>
            <p:ph sz="quarter" idx="72" hasCustomPrompt="1"/>
          </p:nvPr>
        </p:nvSpPr>
        <p:spPr>
          <a:xfrm>
            <a:off x="8046312" y="3069754"/>
            <a:ext cx="1508760" cy="2247706"/>
          </a:xfrm>
        </p:spPr>
        <p:txBody>
          <a:bodyPr lIns="0" rIns="0" numCol="1" spcCol="0">
            <a:noAutofit/>
          </a:bodyPr>
          <a:lstStyle>
            <a:lvl1pPr algn="l">
              <a:spcBef>
                <a:spcPts val="0"/>
              </a:spcBef>
              <a:spcAft>
                <a:spcPts val="800"/>
              </a:spcAft>
              <a:defRPr lang="en-US" sz="1000" dirty="0" smtClean="0">
                <a:solidFill>
                  <a:schemeClr val="tx1"/>
                </a:solidFill>
              </a:defRPr>
            </a:lvl1pPr>
            <a:lvl2pPr algn="l">
              <a:spcBef>
                <a:spcPts val="0"/>
              </a:spcBef>
              <a:spcAft>
                <a:spcPts val="800"/>
              </a:spcAft>
              <a:defRPr lang="en-US" sz="1000" dirty="0">
                <a:solidFill>
                  <a:schemeClr val="tx1"/>
                </a:solidFill>
              </a:defRPr>
            </a:lvl2pPr>
            <a:lvl3pPr algn="l">
              <a:spcBef>
                <a:spcPts val="0"/>
              </a:spcBef>
              <a:spcAft>
                <a:spcPts val="800"/>
              </a:spcAft>
              <a:defRPr lang="en-US" sz="1000" dirty="0">
                <a:solidFill>
                  <a:schemeClr val="tx1"/>
                </a:solidFill>
              </a:defRPr>
            </a:lvl3pPr>
            <a:lvl4pPr algn="l">
              <a:spcAft>
                <a:spcPts val="600"/>
              </a:spcAft>
              <a:defRPr lang="en-US" sz="1200" cap="all" baseline="0" dirty="0">
                <a:solidFill>
                  <a:schemeClr val="tx1"/>
                </a:solidFill>
              </a:defRPr>
            </a:lvl4pPr>
            <a:lvl5pPr marL="0" marR="0" indent="0" algn="l" defTabSz="1088776" rtl="0" eaLnBrk="1" fontAlgn="auto" latinLnBrk="0" hangingPunct="1">
              <a:lnSpc>
                <a:spcPct val="110000"/>
              </a:lnSpc>
              <a:spcBef>
                <a:spcPts val="0"/>
              </a:spcBef>
              <a:spcAft>
                <a:spcPts val="800"/>
              </a:spcAft>
              <a:buClrTx/>
              <a:buSzTx/>
              <a:buFont typeface="Arial" pitchFamily="34" charset="0"/>
              <a:buNone/>
              <a:tabLst/>
              <a:defRPr lang="en-US" sz="1000" dirty="0" smtClean="0">
                <a:solidFill>
                  <a:schemeClr val="tx1"/>
                </a:solidFill>
              </a:defRPr>
            </a:lvl5pPr>
            <a:lvl6pPr algn="l">
              <a:defRPr lang="en-US" sz="900" dirty="0" smtClean="0">
                <a:solidFill>
                  <a:schemeClr val="tx1"/>
                </a:solidFill>
              </a:defRPr>
            </a:lvl6pPr>
            <a:lvl7pPr algn="l">
              <a:defRPr sz="1000">
                <a:solidFill>
                  <a:schemeClr val="tx1"/>
                </a:solidFill>
              </a:defRPr>
            </a:lvl7pPr>
            <a:lvl8pPr algn="l">
              <a:defRPr sz="1000">
                <a:solidFill>
                  <a:schemeClr val="tx1"/>
                </a:solidFill>
              </a:defRPr>
            </a:lvl8pPr>
            <a:lvl9pPr algn="l">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2" name="Content Placeholder 3">
            <a:extLst>
              <a:ext uri="{FF2B5EF4-FFF2-40B4-BE49-F238E27FC236}">
                <a16:creationId xmlns:a16="http://schemas.microsoft.com/office/drawing/2014/main" id="{DD09E910-1A18-BDF8-18C5-0E792A484EFD}"/>
              </a:ext>
            </a:extLst>
          </p:cNvPr>
          <p:cNvSpPr>
            <a:spLocks noGrp="1"/>
          </p:cNvSpPr>
          <p:nvPr>
            <p:ph sz="quarter" idx="73" hasCustomPrompt="1"/>
          </p:nvPr>
        </p:nvSpPr>
        <p:spPr>
          <a:xfrm>
            <a:off x="9840983" y="3069754"/>
            <a:ext cx="1508760" cy="2247706"/>
          </a:xfrm>
        </p:spPr>
        <p:txBody>
          <a:bodyPr lIns="0" rIns="0" numCol="1" spcCol="0">
            <a:noAutofit/>
          </a:bodyPr>
          <a:lstStyle>
            <a:lvl1pPr algn="l">
              <a:spcBef>
                <a:spcPts val="0"/>
              </a:spcBef>
              <a:spcAft>
                <a:spcPts val="800"/>
              </a:spcAft>
              <a:defRPr lang="en-US" sz="1000" dirty="0" smtClean="0">
                <a:solidFill>
                  <a:schemeClr val="tx1"/>
                </a:solidFill>
              </a:defRPr>
            </a:lvl1pPr>
            <a:lvl2pPr algn="l">
              <a:spcBef>
                <a:spcPts val="0"/>
              </a:spcBef>
              <a:spcAft>
                <a:spcPts val="800"/>
              </a:spcAft>
              <a:defRPr lang="en-US" sz="1000" dirty="0">
                <a:solidFill>
                  <a:schemeClr val="tx1"/>
                </a:solidFill>
              </a:defRPr>
            </a:lvl2pPr>
            <a:lvl3pPr algn="l">
              <a:spcBef>
                <a:spcPts val="0"/>
              </a:spcBef>
              <a:spcAft>
                <a:spcPts val="800"/>
              </a:spcAft>
              <a:defRPr lang="en-US" sz="1000" dirty="0">
                <a:solidFill>
                  <a:schemeClr val="tx1"/>
                </a:solidFill>
              </a:defRPr>
            </a:lvl3pPr>
            <a:lvl4pPr algn="l">
              <a:spcAft>
                <a:spcPts val="600"/>
              </a:spcAft>
              <a:defRPr lang="en-US" sz="1200" cap="all" baseline="0" dirty="0">
                <a:solidFill>
                  <a:schemeClr val="tx1"/>
                </a:solidFill>
              </a:defRPr>
            </a:lvl4pPr>
            <a:lvl5pPr marL="0" marR="0" indent="0" algn="l" defTabSz="1088776" rtl="0" eaLnBrk="1" fontAlgn="auto" latinLnBrk="0" hangingPunct="1">
              <a:lnSpc>
                <a:spcPct val="110000"/>
              </a:lnSpc>
              <a:spcBef>
                <a:spcPts val="0"/>
              </a:spcBef>
              <a:spcAft>
                <a:spcPts val="800"/>
              </a:spcAft>
              <a:buClrTx/>
              <a:buSzTx/>
              <a:buFont typeface="Arial" pitchFamily="34" charset="0"/>
              <a:buNone/>
              <a:tabLst/>
              <a:defRPr lang="en-US" sz="1000" dirty="0" smtClean="0">
                <a:solidFill>
                  <a:schemeClr val="tx1"/>
                </a:solidFill>
              </a:defRPr>
            </a:lvl5pPr>
            <a:lvl6pPr algn="l">
              <a:defRPr lang="en-US" sz="900" dirty="0" smtClean="0">
                <a:solidFill>
                  <a:schemeClr val="tx1"/>
                </a:solidFill>
              </a:defRPr>
            </a:lvl6pPr>
            <a:lvl7pPr algn="l">
              <a:defRPr sz="1000">
                <a:solidFill>
                  <a:schemeClr val="tx1"/>
                </a:solidFill>
              </a:defRPr>
            </a:lvl7pPr>
            <a:lvl8pPr algn="l">
              <a:defRPr sz="1000">
                <a:solidFill>
                  <a:schemeClr val="tx1"/>
                </a:solidFill>
              </a:defRPr>
            </a:lvl8pPr>
            <a:lvl9pPr algn="l">
              <a:lnSpc>
                <a:spcPct val="110000"/>
              </a:lnSpc>
              <a:spcBef>
                <a:spcPts val="0"/>
              </a:spcBef>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Footer Placeholder 1">
            <a:extLst>
              <a:ext uri="{FF2B5EF4-FFF2-40B4-BE49-F238E27FC236}">
                <a16:creationId xmlns:a16="http://schemas.microsoft.com/office/drawing/2014/main" id="{8CF9C131-A4DB-E09E-F7ED-A621FD8908F3}"/>
              </a:ext>
            </a:extLst>
          </p:cNvPr>
          <p:cNvSpPr>
            <a:spLocks noGrp="1"/>
          </p:cNvSpPr>
          <p:nvPr>
            <p:ph type="ftr" sz="quarter" idx="74"/>
          </p:nvPr>
        </p:nvSpPr>
        <p:spPr/>
        <p:txBody>
          <a:bodyPr/>
          <a:lstStyle/>
          <a:p>
            <a:endParaRPr lang="en-AU"/>
          </a:p>
        </p:txBody>
      </p:sp>
    </p:spTree>
    <p:extLst>
      <p:ext uri="{BB962C8B-B14F-4D97-AF65-F5344CB8AC3E}">
        <p14:creationId xmlns:p14="http://schemas.microsoft.com/office/powerpoint/2010/main" val="340627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eature + Icons - 50/50 Split">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9B8E48-AB66-42D8-1045-75C6C4263349}"/>
              </a:ext>
            </a:extLst>
          </p:cNvPr>
          <p:cNvSpPr/>
          <p:nvPr userDrawn="1"/>
        </p:nvSpPr>
        <p:spPr>
          <a:xfrm>
            <a:off x="0" y="0"/>
            <a:ext cx="60975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25" name="Slide Number Placeholder 24">
            <a:extLst>
              <a:ext uri="{FF2B5EF4-FFF2-40B4-BE49-F238E27FC236}">
                <a16:creationId xmlns:a16="http://schemas.microsoft.com/office/drawing/2014/main" id="{9A9586AC-CE36-9F86-ECAC-8768FE04C0EC}"/>
              </a:ext>
            </a:extLst>
          </p:cNvPr>
          <p:cNvSpPr>
            <a:spLocks noGrp="1"/>
          </p:cNvSpPr>
          <p:nvPr>
            <p:ph type="sldNum" sz="quarter" idx="31"/>
          </p:nvPr>
        </p:nvSpPr>
        <p:spPr/>
        <p:txBody>
          <a:bodyPr/>
          <a:lstStyle/>
          <a:p>
            <a:fld id="{E917DE0E-AFB1-41FD-BC35-27DB61CA125F}" type="slidenum">
              <a:rPr lang="en-AU" smtClean="0"/>
              <a:pPr/>
              <a:t>‹#›</a:t>
            </a:fld>
            <a:endParaRPr lang="en-AU"/>
          </a:p>
        </p:txBody>
      </p:sp>
      <p:sp>
        <p:nvSpPr>
          <p:cNvPr id="4" name="Content Placeholder 3">
            <a:extLst>
              <a:ext uri="{FF2B5EF4-FFF2-40B4-BE49-F238E27FC236}">
                <a16:creationId xmlns:a16="http://schemas.microsoft.com/office/drawing/2014/main" id="{876A7429-A274-588D-ADAA-26BD14385BF3}"/>
              </a:ext>
            </a:extLst>
          </p:cNvPr>
          <p:cNvSpPr>
            <a:spLocks noGrp="1"/>
          </p:cNvSpPr>
          <p:nvPr>
            <p:ph sz="quarter" idx="15" hasCustomPrompt="1"/>
          </p:nvPr>
        </p:nvSpPr>
        <p:spPr>
          <a:xfrm>
            <a:off x="696913" y="1100138"/>
            <a:ext cx="4956942" cy="2761705"/>
          </a:xfrm>
        </p:spPr>
        <p:txBody>
          <a:bodyPr numCol="1" spcCol="0">
            <a:noAutofit/>
          </a:bodyPr>
          <a:lstStyle>
            <a:lvl1pPr>
              <a:defRPr lang="en-US" dirty="0" smtClean="0"/>
            </a:lvl1pPr>
            <a:lvl2pPr>
              <a:defRPr lang="en-US" dirty="0"/>
            </a:lvl2pPr>
            <a:lvl3pPr>
              <a:defRPr lang="en-US" dirty="0"/>
            </a:lvl3pPr>
            <a:lvl4pPr>
              <a:spcBef>
                <a:spcPts val="0"/>
              </a:spcBef>
              <a:spcAft>
                <a:spcPts val="1000"/>
              </a:spcAft>
              <a:defRPr lang="en-US" sz="4000" dirty="0"/>
            </a:lvl4pPr>
            <a:lvl5pPr marL="0" marR="0" indent="0" algn="l" defTabSz="1088776" rtl="0" eaLnBrk="1" fontAlgn="auto" latinLnBrk="0" hangingPunct="1">
              <a:lnSpc>
                <a:spcPct val="100000"/>
              </a:lnSpc>
              <a:spcBef>
                <a:spcPts val="600"/>
              </a:spcBef>
              <a:spcAft>
                <a:spcPts val="400"/>
              </a:spcAft>
              <a:buClrTx/>
              <a:buSzTx/>
              <a:buFont typeface="Arial" pitchFamily="34" charset="0"/>
              <a:buNone/>
              <a:tabLst/>
              <a:defRPr lang="en-US" dirty="0" smtClean="0"/>
            </a:lvl5pPr>
            <a:lvl6pPr>
              <a:defRPr lang="en-US" dirty="0" smtClean="0"/>
            </a:lvl6pPr>
            <a:lvl7pPr>
              <a:defRPr/>
            </a:lvl7pPr>
            <a:lvl8pPr>
              <a:defRPr/>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7" name="Content Placeholder 3">
            <a:extLst>
              <a:ext uri="{FF2B5EF4-FFF2-40B4-BE49-F238E27FC236}">
                <a16:creationId xmlns:a16="http://schemas.microsoft.com/office/drawing/2014/main" id="{AE40F275-4EBF-54F2-FE04-8C11884361EF}"/>
              </a:ext>
            </a:extLst>
          </p:cNvPr>
          <p:cNvSpPr>
            <a:spLocks noGrp="1"/>
          </p:cNvSpPr>
          <p:nvPr>
            <p:ph sz="quarter" idx="32" hasCustomPrompt="1"/>
          </p:nvPr>
        </p:nvSpPr>
        <p:spPr>
          <a:xfrm>
            <a:off x="7493000" y="558709"/>
            <a:ext cx="4005263" cy="1848803"/>
          </a:xfrm>
        </p:spPr>
        <p:txBody>
          <a:bodyPr numCol="1" spcCol="0">
            <a:noAutofit/>
          </a:bodyPr>
          <a:lstStyle>
            <a:lvl1pPr>
              <a:spcBef>
                <a:spcPts val="1200"/>
              </a:spcBef>
              <a:spcAft>
                <a:spcPts val="600"/>
              </a:spcAft>
              <a:defRPr lang="en-US" dirty="0" smtClean="0">
                <a:solidFill>
                  <a:schemeClr val="tx1"/>
                </a:solidFill>
              </a:defRPr>
            </a:lvl1pPr>
            <a:lvl2pPr>
              <a:defRPr lang="en-US" dirty="0">
                <a:solidFill>
                  <a:schemeClr val="tx1"/>
                </a:solidFill>
              </a:defRPr>
            </a:lvl2pPr>
            <a:lvl3pPr>
              <a:defRPr lang="en-US" dirty="0">
                <a:solidFill>
                  <a:schemeClr val="tx1"/>
                </a:solidFill>
              </a:defRPr>
            </a:lvl3pPr>
            <a:lvl4pPr>
              <a:defRPr lang="en-US" sz="1800" dirty="0">
                <a:solidFill>
                  <a:schemeClr val="tx1"/>
                </a:solidFill>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600" dirty="0" smtClean="0">
                <a:solidFill>
                  <a:schemeClr val="tx1"/>
                </a:solidFill>
              </a:defRPr>
            </a:lvl5pPr>
            <a:lvl6pPr>
              <a:defRPr lang="en-US" sz="1400" dirty="0" smtClean="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Picture Placeholder 9">
            <a:extLst>
              <a:ext uri="{FF2B5EF4-FFF2-40B4-BE49-F238E27FC236}">
                <a16:creationId xmlns:a16="http://schemas.microsoft.com/office/drawing/2014/main" id="{6812B0D9-7802-67AF-B497-1F50E9AC28DA}"/>
              </a:ext>
            </a:extLst>
          </p:cNvPr>
          <p:cNvSpPr>
            <a:spLocks noGrp="1"/>
          </p:cNvSpPr>
          <p:nvPr>
            <p:ph type="pic" sz="quarter" idx="21" hasCustomPrompt="1"/>
          </p:nvPr>
        </p:nvSpPr>
        <p:spPr>
          <a:xfrm>
            <a:off x="6430962" y="549275"/>
            <a:ext cx="860425" cy="860425"/>
          </a:xfrm>
          <a:prstGeom prst="rect">
            <a:avLst/>
          </a:prstGeom>
        </p:spPr>
        <p:txBody>
          <a:bodyPr anchor="ctr" anchorCtr="0"/>
          <a:lstStyle>
            <a:lvl1pPr algn="ctr">
              <a:defRPr sz="1200"/>
            </a:lvl1pPr>
            <a:lvl5pPr algn="ctr">
              <a:defRPr sz="1400">
                <a:latin typeface="+mn-lt"/>
              </a:defRPr>
            </a:lvl5pPr>
          </a:lstStyle>
          <a:p>
            <a:pPr lvl="4"/>
            <a:r>
              <a:rPr lang="en-AU"/>
              <a:t>Click icon to insert picture</a:t>
            </a:r>
          </a:p>
        </p:txBody>
      </p:sp>
      <p:sp>
        <p:nvSpPr>
          <p:cNvPr id="3" name="Picture Placeholder 9">
            <a:extLst>
              <a:ext uri="{FF2B5EF4-FFF2-40B4-BE49-F238E27FC236}">
                <a16:creationId xmlns:a16="http://schemas.microsoft.com/office/drawing/2014/main" id="{661546F1-EB78-6639-11E8-C3FB4425452E}"/>
              </a:ext>
            </a:extLst>
          </p:cNvPr>
          <p:cNvSpPr>
            <a:spLocks noGrp="1"/>
          </p:cNvSpPr>
          <p:nvPr>
            <p:ph type="pic" sz="quarter" idx="35" hasCustomPrompt="1"/>
          </p:nvPr>
        </p:nvSpPr>
        <p:spPr>
          <a:xfrm>
            <a:off x="6430962" y="2764753"/>
            <a:ext cx="860425" cy="860425"/>
          </a:xfrm>
          <a:prstGeom prst="rect">
            <a:avLst/>
          </a:prstGeom>
        </p:spPr>
        <p:txBody>
          <a:bodyPr anchor="ctr" anchorCtr="0"/>
          <a:lstStyle>
            <a:lvl1pPr algn="ctr">
              <a:defRPr sz="1200"/>
            </a:lvl1pPr>
            <a:lvl5pPr algn="ctr">
              <a:defRPr sz="1400">
                <a:latin typeface="+mn-lt"/>
              </a:defRPr>
            </a:lvl5pPr>
          </a:lstStyle>
          <a:p>
            <a:pPr lvl="4"/>
            <a:r>
              <a:rPr lang="en-AU"/>
              <a:t>Click icon to insert picture</a:t>
            </a:r>
          </a:p>
        </p:txBody>
      </p:sp>
      <p:sp>
        <p:nvSpPr>
          <p:cNvPr id="6" name="Picture Placeholder 9">
            <a:extLst>
              <a:ext uri="{FF2B5EF4-FFF2-40B4-BE49-F238E27FC236}">
                <a16:creationId xmlns:a16="http://schemas.microsoft.com/office/drawing/2014/main" id="{4789837A-C03E-A0CD-8213-3B07069266D2}"/>
              </a:ext>
            </a:extLst>
          </p:cNvPr>
          <p:cNvSpPr>
            <a:spLocks noGrp="1"/>
          </p:cNvSpPr>
          <p:nvPr>
            <p:ph type="pic" sz="quarter" idx="36" hasCustomPrompt="1"/>
          </p:nvPr>
        </p:nvSpPr>
        <p:spPr>
          <a:xfrm>
            <a:off x="6430962" y="4657027"/>
            <a:ext cx="860425" cy="860425"/>
          </a:xfrm>
          <a:prstGeom prst="rect">
            <a:avLst/>
          </a:prstGeom>
        </p:spPr>
        <p:txBody>
          <a:bodyPr anchor="ctr" anchorCtr="0"/>
          <a:lstStyle>
            <a:lvl1pPr algn="ctr">
              <a:defRPr sz="1200"/>
            </a:lvl1pPr>
            <a:lvl5pPr algn="ctr">
              <a:defRPr sz="1400">
                <a:latin typeface="+mn-lt"/>
              </a:defRPr>
            </a:lvl5pPr>
          </a:lstStyle>
          <a:p>
            <a:pPr lvl="4"/>
            <a:r>
              <a:rPr lang="en-AU"/>
              <a:t>Click icon to insert picture</a:t>
            </a:r>
          </a:p>
        </p:txBody>
      </p:sp>
      <p:sp>
        <p:nvSpPr>
          <p:cNvPr id="21" name="Freeform 5">
            <a:extLst>
              <a:ext uri="{FF2B5EF4-FFF2-40B4-BE49-F238E27FC236}">
                <a16:creationId xmlns:a16="http://schemas.microsoft.com/office/drawing/2014/main" id="{77B21A09-81EC-D6F3-B3DA-B4795628703C}"/>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26" name="Straight Connector 25">
            <a:extLst>
              <a:ext uri="{FF2B5EF4-FFF2-40B4-BE49-F238E27FC236}">
                <a16:creationId xmlns:a16="http://schemas.microsoft.com/office/drawing/2014/main" id="{12CE331B-40FC-76A7-9110-92BC1A4E9A31}"/>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1D996E5D-237A-C647-0DB4-A19CA4BDABC6}"/>
              </a:ext>
            </a:extLst>
          </p:cNvPr>
          <p:cNvSpPr>
            <a:spLocks noGrp="1"/>
          </p:cNvSpPr>
          <p:nvPr>
            <p:ph sz="quarter" idx="39" hasCustomPrompt="1"/>
          </p:nvPr>
        </p:nvSpPr>
        <p:spPr>
          <a:xfrm>
            <a:off x="7493000" y="2760847"/>
            <a:ext cx="4005263" cy="1537333"/>
          </a:xfrm>
        </p:spPr>
        <p:txBody>
          <a:bodyPr numCol="1" spcCol="0">
            <a:noAutofit/>
          </a:bodyPr>
          <a:lstStyle>
            <a:lvl1pPr>
              <a:spcBef>
                <a:spcPts val="1200"/>
              </a:spcBef>
              <a:spcAft>
                <a:spcPts val="600"/>
              </a:spcAft>
              <a:defRPr lang="en-US" dirty="0" smtClean="0">
                <a:solidFill>
                  <a:schemeClr val="tx1"/>
                </a:solidFill>
              </a:defRPr>
            </a:lvl1pPr>
            <a:lvl2pPr>
              <a:defRPr lang="en-US" dirty="0">
                <a:solidFill>
                  <a:schemeClr val="tx1"/>
                </a:solidFill>
              </a:defRPr>
            </a:lvl2pPr>
            <a:lvl3pPr>
              <a:defRPr lang="en-US" dirty="0">
                <a:solidFill>
                  <a:schemeClr val="tx1"/>
                </a:solidFill>
              </a:defRPr>
            </a:lvl3pPr>
            <a:lvl4pPr>
              <a:defRPr lang="en-US" sz="1800" dirty="0">
                <a:solidFill>
                  <a:schemeClr val="tx1"/>
                </a:solidFill>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600" dirty="0" smtClean="0">
                <a:solidFill>
                  <a:schemeClr val="tx1"/>
                </a:solidFill>
              </a:defRPr>
            </a:lvl5pPr>
            <a:lvl6pPr>
              <a:defRPr lang="en-US" sz="1400" dirty="0" smtClean="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3">
            <a:extLst>
              <a:ext uri="{FF2B5EF4-FFF2-40B4-BE49-F238E27FC236}">
                <a16:creationId xmlns:a16="http://schemas.microsoft.com/office/drawing/2014/main" id="{7D922FFB-7252-12D7-320C-1EC66F282A8A}"/>
              </a:ext>
            </a:extLst>
          </p:cNvPr>
          <p:cNvSpPr>
            <a:spLocks noGrp="1"/>
          </p:cNvSpPr>
          <p:nvPr>
            <p:ph sz="quarter" idx="40" hasCustomPrompt="1"/>
          </p:nvPr>
        </p:nvSpPr>
        <p:spPr>
          <a:xfrm>
            <a:off x="7493000" y="4651515"/>
            <a:ext cx="4005263" cy="1587360"/>
          </a:xfrm>
        </p:spPr>
        <p:txBody>
          <a:bodyPr numCol="1" spcCol="0">
            <a:noAutofit/>
          </a:bodyPr>
          <a:lstStyle>
            <a:lvl1pPr>
              <a:spcBef>
                <a:spcPts val="1200"/>
              </a:spcBef>
              <a:spcAft>
                <a:spcPts val="600"/>
              </a:spcAft>
              <a:defRPr lang="en-US" dirty="0" smtClean="0">
                <a:solidFill>
                  <a:schemeClr val="tx1"/>
                </a:solidFill>
              </a:defRPr>
            </a:lvl1pPr>
            <a:lvl2pPr>
              <a:defRPr lang="en-US" dirty="0">
                <a:solidFill>
                  <a:schemeClr val="tx1"/>
                </a:solidFill>
              </a:defRPr>
            </a:lvl2pPr>
            <a:lvl3pPr>
              <a:defRPr lang="en-US" dirty="0">
                <a:solidFill>
                  <a:schemeClr val="tx1"/>
                </a:solidFill>
              </a:defRPr>
            </a:lvl3pPr>
            <a:lvl4pPr>
              <a:defRPr lang="en-US" sz="1800" dirty="0">
                <a:solidFill>
                  <a:schemeClr val="tx1"/>
                </a:solidFill>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600" dirty="0" smtClean="0">
                <a:solidFill>
                  <a:schemeClr val="tx1"/>
                </a:solidFill>
              </a:defRPr>
            </a:lvl5pPr>
            <a:lvl6pPr>
              <a:defRPr lang="en-US" sz="1400" dirty="0" smtClean="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5" name="TextBox 4" descr="InstructionsBox">
            <a:extLst>
              <a:ext uri="{FF2B5EF4-FFF2-40B4-BE49-F238E27FC236}">
                <a16:creationId xmlns:a16="http://schemas.microsoft.com/office/drawing/2014/main" id="{6AD62EF4-0BD9-1FF3-2ECE-9C28DECA9695}"/>
              </a:ext>
            </a:extLst>
          </p:cNvPr>
          <p:cNvSpPr txBox="1"/>
          <p:nvPr userDrawn="1"/>
        </p:nvSpPr>
        <p:spPr>
          <a:xfrm>
            <a:off x="2" y="-1954847"/>
            <a:ext cx="9012162" cy="1900103"/>
          </a:xfrm>
          <a:prstGeom prst="rect">
            <a:avLst/>
          </a:prstGeom>
          <a:solidFill>
            <a:schemeClr val="accent1"/>
          </a:solidFill>
        </p:spPr>
        <p:txBody>
          <a:bodyPr wrap="square" rtlCol="0">
            <a:noAutofit/>
          </a:bodyPr>
          <a:lstStyle/>
          <a:p>
            <a:r>
              <a:rPr lang="en-AU" sz="1400">
                <a:solidFill>
                  <a:schemeClr val="bg1"/>
                </a:solidFill>
              </a:rPr>
              <a:t>For this slide design, you can change the grey box’s colour by right-clicking </a:t>
            </a:r>
            <a:br>
              <a:rPr lang="en-AU" sz="1400">
                <a:solidFill>
                  <a:schemeClr val="bg1"/>
                </a:solidFill>
              </a:rPr>
            </a:br>
            <a:r>
              <a:rPr lang="en-AU" sz="1400">
                <a:solidFill>
                  <a:schemeClr val="bg1"/>
                </a:solidFill>
              </a:rPr>
              <a:t>somewhere on the slide, not in a content placeholder.</a:t>
            </a:r>
          </a:p>
          <a:p>
            <a:r>
              <a:rPr lang="en-US" sz="1400">
                <a:solidFill>
                  <a:schemeClr val="bg1"/>
                </a:solidFill>
              </a:rPr>
              <a:t>‘Format Background</a:t>
            </a:r>
          </a:p>
          <a:p>
            <a:r>
              <a:rPr lang="en-US" sz="1400">
                <a:solidFill>
                  <a:schemeClr val="bg1"/>
                </a:solidFill>
              </a:rPr>
              <a:t>Under the ‘Fill’ menu, ‘Solid fill’ is already selected</a:t>
            </a:r>
          </a:p>
          <a:p>
            <a:r>
              <a:rPr lang="en-US" sz="1400">
                <a:solidFill>
                  <a:schemeClr val="bg1"/>
                </a:solidFill>
              </a:rPr>
              <a:t>Go to the paint bucket button and select another </a:t>
            </a:r>
            <a:r>
              <a:rPr lang="en-US" sz="1400" err="1">
                <a:solidFill>
                  <a:schemeClr val="bg1"/>
                </a:solidFill>
              </a:rPr>
              <a:t>colour</a:t>
            </a:r>
            <a:endParaRPr lang="en-US" sz="1400">
              <a:solidFill>
                <a:schemeClr val="bg1"/>
              </a:solidFill>
            </a:endParaRPr>
          </a:p>
        </p:txBody>
      </p:sp>
      <p:sp>
        <p:nvSpPr>
          <p:cNvPr id="9" name="Footer Placeholder 8">
            <a:extLst>
              <a:ext uri="{FF2B5EF4-FFF2-40B4-BE49-F238E27FC236}">
                <a16:creationId xmlns:a16="http://schemas.microsoft.com/office/drawing/2014/main" id="{C1BDB562-CAF5-A624-44B0-A0D66AC19AA8}"/>
              </a:ext>
            </a:extLst>
          </p:cNvPr>
          <p:cNvSpPr>
            <a:spLocks noGrp="1"/>
          </p:cNvSpPr>
          <p:nvPr>
            <p:ph type="ftr" sz="quarter" idx="41"/>
          </p:nvPr>
        </p:nvSpPr>
        <p:spPr/>
        <p:txBody>
          <a:bodyPr/>
          <a:lstStyle/>
          <a:p>
            <a:endParaRPr lang="en-AU"/>
          </a:p>
        </p:txBody>
      </p:sp>
    </p:spTree>
    <p:extLst>
      <p:ext uri="{BB962C8B-B14F-4D97-AF65-F5344CB8AC3E}">
        <p14:creationId xmlns:p14="http://schemas.microsoft.com/office/powerpoint/2010/main" val="3261333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eature + Image - 50/50 Split">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ACC038D9-BBB4-1FEF-71AC-F210B473BDEA}"/>
              </a:ext>
            </a:extLst>
          </p:cNvPr>
          <p:cNvSpPr>
            <a:spLocks noGrp="1"/>
          </p:cNvSpPr>
          <p:nvPr>
            <p:ph type="body" sz="quarter" idx="31" hasCustomPrompt="1"/>
          </p:nvPr>
        </p:nvSpPr>
        <p:spPr>
          <a:xfrm>
            <a:off x="6097588" y="0"/>
            <a:ext cx="6097587" cy="6859588"/>
          </a:xfrm>
          <a:solidFill>
            <a:schemeClr val="bg1">
              <a:lumMod val="85000"/>
              <a:alpha val="75000"/>
            </a:schemeClr>
          </a:solidFill>
        </p:spPr>
        <p:txBody>
          <a:bodyPr>
            <a:noAutofit/>
          </a:bodyPr>
          <a:lstStyle>
            <a:lvl1pPr>
              <a:defRPr sz="100"/>
            </a:lvl1pPr>
            <a:lvl2pPr>
              <a:defRPr sz="100"/>
            </a:lvl2pPr>
            <a:lvl3pPr>
              <a:defRPr sz="100"/>
            </a:lvl3pPr>
            <a:lvl4pPr>
              <a:defRPr sz="100"/>
            </a:lvl4pPr>
            <a:lvl5pPr>
              <a:defRPr sz="100"/>
            </a:lvl5pPr>
          </a:lstStyle>
          <a:p>
            <a:pPr lvl="0"/>
            <a:r>
              <a:rPr lang="en-NZ"/>
              <a:t> </a:t>
            </a:r>
            <a:endParaRPr lang="en-AU"/>
          </a:p>
        </p:txBody>
      </p:sp>
      <p:sp>
        <p:nvSpPr>
          <p:cNvPr id="12" name="Slide Number Placeholder 11">
            <a:extLst>
              <a:ext uri="{FF2B5EF4-FFF2-40B4-BE49-F238E27FC236}">
                <a16:creationId xmlns:a16="http://schemas.microsoft.com/office/drawing/2014/main" id="{1C783820-7D50-2228-6004-E2F940BFCB62}"/>
              </a:ext>
            </a:extLst>
          </p:cNvPr>
          <p:cNvSpPr>
            <a:spLocks noGrp="1"/>
          </p:cNvSpPr>
          <p:nvPr>
            <p:ph type="sldNum" sz="quarter" idx="33"/>
          </p:nvPr>
        </p:nvSpPr>
        <p:spPr/>
        <p:txBody>
          <a:bodyPr/>
          <a:lstStyle/>
          <a:p>
            <a:fld id="{E917DE0E-AFB1-41FD-BC35-27DB61CA125F}" type="slidenum">
              <a:rPr lang="en-AU" smtClean="0"/>
              <a:pPr/>
              <a:t>‹#›</a:t>
            </a:fld>
            <a:endParaRPr lang="en-AU"/>
          </a:p>
        </p:txBody>
      </p:sp>
      <p:sp>
        <p:nvSpPr>
          <p:cNvPr id="3" name="Picture Placeholder 9">
            <a:extLst>
              <a:ext uri="{FF2B5EF4-FFF2-40B4-BE49-F238E27FC236}">
                <a16:creationId xmlns:a16="http://schemas.microsoft.com/office/drawing/2014/main" id="{A95C1DEB-FF6A-8137-1978-E212D6584622}"/>
              </a:ext>
            </a:extLst>
          </p:cNvPr>
          <p:cNvSpPr>
            <a:spLocks noGrp="1"/>
          </p:cNvSpPr>
          <p:nvPr>
            <p:ph type="pic" sz="quarter" idx="21" hasCustomPrompt="1"/>
          </p:nvPr>
        </p:nvSpPr>
        <p:spPr>
          <a:xfrm>
            <a:off x="6430962" y="549275"/>
            <a:ext cx="860425" cy="860425"/>
          </a:xfrm>
          <a:prstGeom prst="rect">
            <a:avLst/>
          </a:prstGeom>
        </p:spPr>
        <p:txBody>
          <a:bodyPr anchor="ctr" anchorCtr="0"/>
          <a:lstStyle>
            <a:lvl1pPr algn="ctr">
              <a:defRPr sz="1200"/>
            </a:lvl1pPr>
            <a:lvl5pPr algn="ctr">
              <a:defRPr sz="1400">
                <a:latin typeface="+mn-lt"/>
              </a:defRPr>
            </a:lvl5pPr>
          </a:lstStyle>
          <a:p>
            <a:pPr lvl="4"/>
            <a:r>
              <a:rPr lang="en-AU"/>
              <a:t>Click icon to insert picture</a:t>
            </a:r>
          </a:p>
        </p:txBody>
      </p:sp>
      <p:sp>
        <p:nvSpPr>
          <p:cNvPr id="6" name="Picture Placeholder 9">
            <a:extLst>
              <a:ext uri="{FF2B5EF4-FFF2-40B4-BE49-F238E27FC236}">
                <a16:creationId xmlns:a16="http://schemas.microsoft.com/office/drawing/2014/main" id="{A97FF50C-6952-8AE5-7596-9BEE18B28C36}"/>
              </a:ext>
            </a:extLst>
          </p:cNvPr>
          <p:cNvSpPr>
            <a:spLocks noGrp="1"/>
          </p:cNvSpPr>
          <p:nvPr>
            <p:ph type="pic" sz="quarter" idx="35" hasCustomPrompt="1"/>
          </p:nvPr>
        </p:nvSpPr>
        <p:spPr>
          <a:xfrm>
            <a:off x="6430962" y="2764753"/>
            <a:ext cx="860425" cy="860425"/>
          </a:xfrm>
          <a:prstGeom prst="rect">
            <a:avLst/>
          </a:prstGeom>
        </p:spPr>
        <p:txBody>
          <a:bodyPr anchor="ctr" anchorCtr="0"/>
          <a:lstStyle>
            <a:lvl1pPr algn="ctr">
              <a:defRPr sz="1200"/>
            </a:lvl1pPr>
            <a:lvl5pPr algn="ctr">
              <a:defRPr sz="1400">
                <a:latin typeface="+mn-lt"/>
              </a:defRPr>
            </a:lvl5pPr>
          </a:lstStyle>
          <a:p>
            <a:pPr lvl="4"/>
            <a:r>
              <a:rPr lang="en-AU"/>
              <a:t>Click icon to insert picture</a:t>
            </a:r>
          </a:p>
        </p:txBody>
      </p:sp>
      <p:sp>
        <p:nvSpPr>
          <p:cNvPr id="7" name="Picture Placeholder 9">
            <a:extLst>
              <a:ext uri="{FF2B5EF4-FFF2-40B4-BE49-F238E27FC236}">
                <a16:creationId xmlns:a16="http://schemas.microsoft.com/office/drawing/2014/main" id="{9CECB06C-941C-DF93-D28C-8FAABBFAB36F}"/>
              </a:ext>
            </a:extLst>
          </p:cNvPr>
          <p:cNvSpPr>
            <a:spLocks noGrp="1"/>
          </p:cNvSpPr>
          <p:nvPr>
            <p:ph type="pic" sz="quarter" idx="36" hasCustomPrompt="1"/>
          </p:nvPr>
        </p:nvSpPr>
        <p:spPr>
          <a:xfrm>
            <a:off x="6430962" y="4657027"/>
            <a:ext cx="860425" cy="860425"/>
          </a:xfrm>
          <a:prstGeom prst="rect">
            <a:avLst/>
          </a:prstGeom>
        </p:spPr>
        <p:txBody>
          <a:bodyPr anchor="ctr" anchorCtr="0"/>
          <a:lstStyle>
            <a:lvl1pPr algn="ctr">
              <a:defRPr sz="1200"/>
            </a:lvl1pPr>
            <a:lvl5pPr algn="ctr">
              <a:defRPr sz="1400">
                <a:latin typeface="+mn-lt"/>
              </a:defRPr>
            </a:lvl5pPr>
          </a:lstStyle>
          <a:p>
            <a:pPr lvl="4"/>
            <a:r>
              <a:rPr lang="en-AU"/>
              <a:t>Click icon to insert picture</a:t>
            </a:r>
          </a:p>
        </p:txBody>
      </p:sp>
      <p:sp>
        <p:nvSpPr>
          <p:cNvPr id="9" name="Content Placeholder 3">
            <a:extLst>
              <a:ext uri="{FF2B5EF4-FFF2-40B4-BE49-F238E27FC236}">
                <a16:creationId xmlns:a16="http://schemas.microsoft.com/office/drawing/2014/main" id="{DBC81AA3-338D-F9FC-E022-3FECD6498BD7}"/>
              </a:ext>
            </a:extLst>
          </p:cNvPr>
          <p:cNvSpPr>
            <a:spLocks noGrp="1"/>
          </p:cNvSpPr>
          <p:nvPr>
            <p:ph sz="quarter" idx="15" hasCustomPrompt="1"/>
          </p:nvPr>
        </p:nvSpPr>
        <p:spPr>
          <a:xfrm>
            <a:off x="696913" y="1100138"/>
            <a:ext cx="4956942" cy="2761705"/>
          </a:xfrm>
        </p:spPr>
        <p:txBody>
          <a:bodyPr numCol="1" spcCol="0">
            <a:noAutofit/>
          </a:bodyPr>
          <a:lstStyle>
            <a:lvl1pPr>
              <a:defRPr lang="en-US" dirty="0" smtClean="0"/>
            </a:lvl1pPr>
            <a:lvl2pPr>
              <a:defRPr lang="en-US" dirty="0"/>
            </a:lvl2pPr>
            <a:lvl3pPr>
              <a:defRPr lang="en-US" dirty="0"/>
            </a:lvl3pPr>
            <a:lvl4pPr>
              <a:spcBef>
                <a:spcPts val="0"/>
              </a:spcBef>
              <a:spcAft>
                <a:spcPts val="1000"/>
              </a:spcAft>
              <a:defRPr lang="en-US" sz="4000" dirty="0"/>
            </a:lvl4pPr>
            <a:lvl5pPr marL="0" marR="0" indent="0" algn="l" defTabSz="1088776" rtl="0" eaLnBrk="1" fontAlgn="auto" latinLnBrk="0" hangingPunct="1">
              <a:lnSpc>
                <a:spcPct val="100000"/>
              </a:lnSpc>
              <a:spcBef>
                <a:spcPts val="600"/>
              </a:spcBef>
              <a:spcAft>
                <a:spcPts val="400"/>
              </a:spcAft>
              <a:buClrTx/>
              <a:buSzTx/>
              <a:buFont typeface="Arial" pitchFamily="34" charset="0"/>
              <a:buNone/>
              <a:tabLst/>
              <a:defRPr lang="en-US" dirty="0" smtClean="0"/>
            </a:lvl5pPr>
            <a:lvl6pPr>
              <a:defRPr lang="en-US" dirty="0" smtClean="0"/>
            </a:lvl6pPr>
            <a:lvl7pPr>
              <a:defRPr/>
            </a:lvl7pPr>
            <a:lvl8pPr>
              <a:defRPr/>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Content Placeholder 3">
            <a:extLst>
              <a:ext uri="{FF2B5EF4-FFF2-40B4-BE49-F238E27FC236}">
                <a16:creationId xmlns:a16="http://schemas.microsoft.com/office/drawing/2014/main" id="{DB0E6F34-9492-23AE-4CF5-FEB346DA9B91}"/>
              </a:ext>
            </a:extLst>
          </p:cNvPr>
          <p:cNvSpPr>
            <a:spLocks noGrp="1"/>
          </p:cNvSpPr>
          <p:nvPr>
            <p:ph sz="quarter" idx="32" hasCustomPrompt="1"/>
          </p:nvPr>
        </p:nvSpPr>
        <p:spPr>
          <a:xfrm>
            <a:off x="7493000" y="558709"/>
            <a:ext cx="4005263" cy="1848803"/>
          </a:xfrm>
        </p:spPr>
        <p:txBody>
          <a:bodyPr numCol="1" spcCol="0">
            <a:noAutofit/>
          </a:bodyPr>
          <a:lstStyle>
            <a:lvl1pPr>
              <a:spcBef>
                <a:spcPts val="1200"/>
              </a:spcBef>
              <a:spcAft>
                <a:spcPts val="600"/>
              </a:spcAft>
              <a:defRPr lang="en-US" dirty="0" smtClean="0">
                <a:solidFill>
                  <a:schemeClr val="tx1"/>
                </a:solidFill>
              </a:defRPr>
            </a:lvl1pPr>
            <a:lvl2pPr>
              <a:defRPr lang="en-US" dirty="0">
                <a:solidFill>
                  <a:schemeClr val="tx1"/>
                </a:solidFill>
              </a:defRPr>
            </a:lvl2pPr>
            <a:lvl3pPr>
              <a:defRPr lang="en-US" dirty="0">
                <a:solidFill>
                  <a:schemeClr val="tx1"/>
                </a:solidFill>
              </a:defRPr>
            </a:lvl3pPr>
            <a:lvl4pPr>
              <a:defRPr lang="en-US" sz="1800" dirty="0">
                <a:solidFill>
                  <a:schemeClr val="tx1"/>
                </a:solidFill>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600" dirty="0" smtClean="0">
                <a:solidFill>
                  <a:schemeClr val="tx1"/>
                </a:solidFill>
              </a:defRPr>
            </a:lvl5pPr>
            <a:lvl6pPr>
              <a:defRPr lang="en-US" sz="1400" dirty="0" smtClean="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5" name="Content Placeholder 3">
            <a:extLst>
              <a:ext uri="{FF2B5EF4-FFF2-40B4-BE49-F238E27FC236}">
                <a16:creationId xmlns:a16="http://schemas.microsoft.com/office/drawing/2014/main" id="{E85D2D42-D4F9-5D27-CC55-D00BE68FB2B1}"/>
              </a:ext>
            </a:extLst>
          </p:cNvPr>
          <p:cNvSpPr>
            <a:spLocks noGrp="1"/>
          </p:cNvSpPr>
          <p:nvPr>
            <p:ph sz="quarter" idx="39" hasCustomPrompt="1"/>
          </p:nvPr>
        </p:nvSpPr>
        <p:spPr>
          <a:xfrm>
            <a:off x="7493000" y="2760847"/>
            <a:ext cx="4005263" cy="1537333"/>
          </a:xfrm>
        </p:spPr>
        <p:txBody>
          <a:bodyPr numCol="1" spcCol="0">
            <a:noAutofit/>
          </a:bodyPr>
          <a:lstStyle>
            <a:lvl1pPr>
              <a:spcBef>
                <a:spcPts val="1200"/>
              </a:spcBef>
              <a:spcAft>
                <a:spcPts val="600"/>
              </a:spcAft>
              <a:defRPr lang="en-US" dirty="0" smtClean="0">
                <a:solidFill>
                  <a:schemeClr val="tx1"/>
                </a:solidFill>
              </a:defRPr>
            </a:lvl1pPr>
            <a:lvl2pPr>
              <a:defRPr lang="en-US" dirty="0">
                <a:solidFill>
                  <a:schemeClr val="tx1"/>
                </a:solidFill>
              </a:defRPr>
            </a:lvl2pPr>
            <a:lvl3pPr>
              <a:defRPr lang="en-US" dirty="0">
                <a:solidFill>
                  <a:schemeClr val="tx1"/>
                </a:solidFill>
              </a:defRPr>
            </a:lvl3pPr>
            <a:lvl4pPr>
              <a:defRPr lang="en-US" sz="1800" dirty="0">
                <a:solidFill>
                  <a:schemeClr val="tx1"/>
                </a:solidFill>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600" dirty="0" smtClean="0">
                <a:solidFill>
                  <a:schemeClr val="tx1"/>
                </a:solidFill>
              </a:defRPr>
            </a:lvl5pPr>
            <a:lvl6pPr>
              <a:defRPr lang="en-US" sz="1400" dirty="0" smtClean="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3">
            <a:extLst>
              <a:ext uri="{FF2B5EF4-FFF2-40B4-BE49-F238E27FC236}">
                <a16:creationId xmlns:a16="http://schemas.microsoft.com/office/drawing/2014/main" id="{87ACAD3A-F472-B736-53A6-823D81917618}"/>
              </a:ext>
            </a:extLst>
          </p:cNvPr>
          <p:cNvSpPr>
            <a:spLocks noGrp="1"/>
          </p:cNvSpPr>
          <p:nvPr>
            <p:ph sz="quarter" idx="40" hasCustomPrompt="1"/>
          </p:nvPr>
        </p:nvSpPr>
        <p:spPr>
          <a:xfrm>
            <a:off x="7493000" y="4651515"/>
            <a:ext cx="4005263" cy="1587360"/>
          </a:xfrm>
        </p:spPr>
        <p:txBody>
          <a:bodyPr numCol="1" spcCol="0">
            <a:noAutofit/>
          </a:bodyPr>
          <a:lstStyle>
            <a:lvl1pPr>
              <a:spcBef>
                <a:spcPts val="1200"/>
              </a:spcBef>
              <a:spcAft>
                <a:spcPts val="600"/>
              </a:spcAft>
              <a:defRPr lang="en-US" dirty="0" smtClean="0">
                <a:solidFill>
                  <a:schemeClr val="tx1"/>
                </a:solidFill>
              </a:defRPr>
            </a:lvl1pPr>
            <a:lvl2pPr>
              <a:defRPr lang="en-US" dirty="0">
                <a:solidFill>
                  <a:schemeClr val="tx1"/>
                </a:solidFill>
              </a:defRPr>
            </a:lvl2pPr>
            <a:lvl3pPr>
              <a:defRPr lang="en-US" dirty="0">
                <a:solidFill>
                  <a:schemeClr val="tx1"/>
                </a:solidFill>
              </a:defRPr>
            </a:lvl3pPr>
            <a:lvl4pPr>
              <a:defRPr lang="en-US" sz="1800" dirty="0">
                <a:solidFill>
                  <a:schemeClr val="tx1"/>
                </a:solidFill>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600" dirty="0" smtClean="0">
                <a:solidFill>
                  <a:schemeClr val="tx1"/>
                </a:solidFill>
              </a:defRPr>
            </a:lvl5pPr>
            <a:lvl6pPr>
              <a:defRPr lang="en-US" sz="1400" dirty="0" smtClean="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4" name="Picture Placeholder 3">
            <a:extLst>
              <a:ext uri="{FF2B5EF4-FFF2-40B4-BE49-F238E27FC236}">
                <a16:creationId xmlns:a16="http://schemas.microsoft.com/office/drawing/2014/main" id="{B692548E-22CB-E9E3-A7D0-1C359082FE27}"/>
              </a:ext>
            </a:extLst>
          </p:cNvPr>
          <p:cNvSpPr>
            <a:spLocks noGrp="1"/>
          </p:cNvSpPr>
          <p:nvPr>
            <p:ph type="pic" sz="quarter" idx="30" hasCustomPrompt="1"/>
          </p:nvPr>
        </p:nvSpPr>
        <p:spPr>
          <a:xfrm>
            <a:off x="6097588" y="0"/>
            <a:ext cx="6097587" cy="6859588"/>
          </a:xfrm>
          <a:solidFill>
            <a:schemeClr val="bg1">
              <a:lumMod val="95000"/>
            </a:schemeClr>
          </a:solidFill>
        </p:spPr>
        <p:txBody>
          <a:bodyPr bIns="900000" anchor="ctr">
            <a:noAutofit/>
          </a:bodyPr>
          <a:lstStyle>
            <a:lvl1pPr algn="ctr">
              <a:spcAft>
                <a:spcPts val="0"/>
              </a:spcAft>
              <a:defRPr sz="1400" b="0">
                <a:latin typeface="+mn-lt"/>
              </a:defRPr>
            </a:lvl1pPr>
          </a:lstStyle>
          <a:p>
            <a:r>
              <a:rPr lang="en-NZ"/>
              <a:t>Click Icon to add picture, then right click and ‘send to back’</a:t>
            </a:r>
            <a:endParaRPr lang="en-AU"/>
          </a:p>
        </p:txBody>
      </p:sp>
      <p:sp>
        <p:nvSpPr>
          <p:cNvPr id="10" name="Footer Placeholder 9">
            <a:extLst>
              <a:ext uri="{FF2B5EF4-FFF2-40B4-BE49-F238E27FC236}">
                <a16:creationId xmlns:a16="http://schemas.microsoft.com/office/drawing/2014/main" id="{3507152F-15A2-9576-B8BE-276B874ABA06}"/>
              </a:ext>
            </a:extLst>
          </p:cNvPr>
          <p:cNvSpPr>
            <a:spLocks noGrp="1"/>
          </p:cNvSpPr>
          <p:nvPr>
            <p:ph type="ftr" sz="quarter" idx="41"/>
          </p:nvPr>
        </p:nvSpPr>
        <p:spPr/>
        <p:txBody>
          <a:bodyPr/>
          <a:lstStyle/>
          <a:p>
            <a:endParaRPr lang="en-AU"/>
          </a:p>
        </p:txBody>
      </p:sp>
    </p:spTree>
    <p:extLst>
      <p:ext uri="{BB962C8B-B14F-4D97-AF65-F5344CB8AC3E}">
        <p14:creationId xmlns:p14="http://schemas.microsoft.com/office/powerpoint/2010/main" val="27553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7275C9-8C3B-FA7C-DBC8-7CF997E853D4}"/>
              </a:ext>
            </a:extLst>
          </p:cNvPr>
          <p:cNvSpPr/>
          <p:nvPr userDrawn="1"/>
        </p:nvSpPr>
        <p:spPr>
          <a:xfrm>
            <a:off x="-1" y="0"/>
            <a:ext cx="12195175" cy="5219700"/>
          </a:xfrm>
          <a:prstGeom prst="rect">
            <a:avLst/>
          </a:prstGeom>
          <a:gradFill flip="none" rotWithShape="1">
            <a:gsLst>
              <a:gs pos="99000">
                <a:schemeClr val="tx1"/>
              </a:gs>
              <a:gs pos="0">
                <a:schemeClr val="accent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19" name="Text Placeholder 2">
            <a:extLst>
              <a:ext uri="{FF2B5EF4-FFF2-40B4-BE49-F238E27FC236}">
                <a16:creationId xmlns:a16="http://schemas.microsoft.com/office/drawing/2014/main" id="{B2D1F40B-C92D-D932-47FF-66028CCC1706}"/>
              </a:ext>
            </a:extLst>
          </p:cNvPr>
          <p:cNvSpPr>
            <a:spLocks noGrp="1"/>
          </p:cNvSpPr>
          <p:nvPr>
            <p:ph type="body" idx="18"/>
          </p:nvPr>
        </p:nvSpPr>
        <p:spPr>
          <a:xfrm>
            <a:off x="636588" y="2006010"/>
            <a:ext cx="10926762" cy="1345114"/>
          </a:xfrm>
          <a:noFill/>
        </p:spPr>
        <p:txBody>
          <a:bodyPr lIns="144000" tIns="0" rIns="144000" bIns="0" numCol="1" spcCol="0" anchor="t">
            <a:noAutofit/>
          </a:bodyPr>
          <a:lstStyle>
            <a:lvl1pPr marL="0" indent="0" algn="ctr">
              <a:spcAft>
                <a:spcPts val="1000"/>
              </a:spcAft>
              <a:buNone/>
              <a:defRPr lang="en-US" sz="4000" b="0" dirty="0" smtClean="0">
                <a:solidFill>
                  <a:schemeClr val="bg1"/>
                </a:solidFill>
                <a:latin typeface="+mj-lt"/>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11" name="Rectangle 10">
            <a:extLst>
              <a:ext uri="{FF2B5EF4-FFF2-40B4-BE49-F238E27FC236}">
                <a16:creationId xmlns:a16="http://schemas.microsoft.com/office/drawing/2014/main" id="{DC9C357C-5992-2334-E81A-9026BB26D9DB}"/>
              </a:ext>
            </a:extLst>
          </p:cNvPr>
          <p:cNvSpPr/>
          <p:nvPr userDrawn="1"/>
        </p:nvSpPr>
        <p:spPr>
          <a:xfrm>
            <a:off x="0" y="5219700"/>
            <a:ext cx="12195175" cy="811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10" name="Slide Number Placeholder 9">
            <a:extLst>
              <a:ext uri="{FF2B5EF4-FFF2-40B4-BE49-F238E27FC236}">
                <a16:creationId xmlns:a16="http://schemas.microsoft.com/office/drawing/2014/main" id="{12DFF0BE-FCA5-25F8-0211-953462452C91}"/>
              </a:ext>
            </a:extLst>
          </p:cNvPr>
          <p:cNvSpPr>
            <a:spLocks noGrp="1"/>
          </p:cNvSpPr>
          <p:nvPr>
            <p:ph type="sldNum" sz="quarter" idx="20"/>
          </p:nvPr>
        </p:nvSpPr>
        <p:spPr/>
        <p:txBody>
          <a:bodyPr/>
          <a:lstStyle/>
          <a:p>
            <a:fld id="{E917DE0E-AFB1-41FD-BC35-27DB61CA125F}" type="slidenum">
              <a:rPr lang="en-AU" smtClean="0"/>
              <a:pPr/>
              <a:t>‹#›</a:t>
            </a:fld>
            <a:endParaRPr lang="en-AU"/>
          </a:p>
        </p:txBody>
      </p:sp>
      <p:sp>
        <p:nvSpPr>
          <p:cNvPr id="2" name="Freeform 5">
            <a:extLst>
              <a:ext uri="{FF2B5EF4-FFF2-40B4-BE49-F238E27FC236}">
                <a16:creationId xmlns:a16="http://schemas.microsoft.com/office/drawing/2014/main" id="{619205BE-18A3-FFD8-9E8A-EE7005D06B30}"/>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4" name="Straight Connector 3">
            <a:extLst>
              <a:ext uri="{FF2B5EF4-FFF2-40B4-BE49-F238E27FC236}">
                <a16:creationId xmlns:a16="http://schemas.microsoft.com/office/drawing/2014/main" id="{72492635-8A8E-C660-C19E-4EF4A33CF59F}"/>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E6C03BEF-4457-0266-B49B-6183651B34F0}"/>
              </a:ext>
            </a:extLst>
          </p:cNvPr>
          <p:cNvSpPr>
            <a:spLocks noGrp="1"/>
          </p:cNvSpPr>
          <p:nvPr>
            <p:ph type="ftr" sz="quarter" idx="21"/>
          </p:nvPr>
        </p:nvSpPr>
        <p:spPr/>
        <p:txBody>
          <a:bodyPr/>
          <a:lstStyle/>
          <a:p>
            <a:endParaRPr lang="en-AU"/>
          </a:p>
        </p:txBody>
      </p:sp>
    </p:spTree>
    <p:extLst>
      <p:ext uri="{BB962C8B-B14F-4D97-AF65-F5344CB8AC3E}">
        <p14:creationId xmlns:p14="http://schemas.microsoft.com/office/powerpoint/2010/main" val="249922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eature + Large Icon - 50/50 Split">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70E97AA9-35D5-DFFF-8772-8159524D6DF6}"/>
              </a:ext>
            </a:extLst>
          </p:cNvPr>
          <p:cNvSpPr>
            <a:spLocks noGrp="1"/>
          </p:cNvSpPr>
          <p:nvPr>
            <p:ph type="sldNum" sz="quarter" idx="25"/>
          </p:nvPr>
        </p:nvSpPr>
        <p:spPr/>
        <p:txBody>
          <a:bodyPr/>
          <a:lstStyle/>
          <a:p>
            <a:fld id="{E917DE0E-AFB1-41FD-BC35-27DB61CA125F}" type="slidenum">
              <a:rPr lang="en-AU" smtClean="0"/>
              <a:pPr/>
              <a:t>‹#›</a:t>
            </a:fld>
            <a:endParaRPr lang="en-AU"/>
          </a:p>
        </p:txBody>
      </p:sp>
      <p:sp>
        <p:nvSpPr>
          <p:cNvPr id="4" name="Picture Placeholder 8">
            <a:extLst>
              <a:ext uri="{FF2B5EF4-FFF2-40B4-BE49-F238E27FC236}">
                <a16:creationId xmlns:a16="http://schemas.microsoft.com/office/drawing/2014/main" id="{356E5682-6A17-C7DF-41E2-08F73341EF64}"/>
              </a:ext>
            </a:extLst>
          </p:cNvPr>
          <p:cNvSpPr>
            <a:spLocks noGrp="1"/>
          </p:cNvSpPr>
          <p:nvPr>
            <p:ph type="pic" sz="quarter" idx="26" hasCustomPrompt="1"/>
          </p:nvPr>
        </p:nvSpPr>
        <p:spPr>
          <a:xfrm>
            <a:off x="696913" y="706057"/>
            <a:ext cx="2187635" cy="2071148"/>
          </a:xfrm>
          <a:prstGeom prst="rect">
            <a:avLst/>
          </a:prstGeom>
        </p:spPr>
        <p:txBody>
          <a:bodyPr anchor="ctr" anchorCtr="0"/>
          <a:lstStyle>
            <a:lvl1pPr algn="ctr">
              <a:defRPr sz="1600"/>
            </a:lvl1pPr>
            <a:lvl5pPr algn="ctr">
              <a:defRPr sz="1400">
                <a:latin typeface="+mn-lt"/>
              </a:defRPr>
            </a:lvl5pPr>
          </a:lstStyle>
          <a:p>
            <a:pPr lvl="4"/>
            <a:r>
              <a:rPr lang="en-NZ"/>
              <a:t>Click Icon </a:t>
            </a:r>
            <a:br>
              <a:rPr lang="en-NZ"/>
            </a:br>
            <a:r>
              <a:rPr lang="en-NZ"/>
              <a:t>to add picture</a:t>
            </a:r>
            <a:endParaRPr lang="en-AU"/>
          </a:p>
        </p:txBody>
      </p:sp>
      <p:sp>
        <p:nvSpPr>
          <p:cNvPr id="2" name="Freeform 5">
            <a:extLst>
              <a:ext uri="{FF2B5EF4-FFF2-40B4-BE49-F238E27FC236}">
                <a16:creationId xmlns:a16="http://schemas.microsoft.com/office/drawing/2014/main" id="{4A445474-695D-4337-CF8D-71375BD7F2DE}"/>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5" name="Straight Connector 4">
            <a:extLst>
              <a:ext uri="{FF2B5EF4-FFF2-40B4-BE49-F238E27FC236}">
                <a16:creationId xmlns:a16="http://schemas.microsoft.com/office/drawing/2014/main" id="{3AA19726-7CF4-B794-5FC6-F04E96E7012F}"/>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3">
            <a:extLst>
              <a:ext uri="{FF2B5EF4-FFF2-40B4-BE49-F238E27FC236}">
                <a16:creationId xmlns:a16="http://schemas.microsoft.com/office/drawing/2014/main" id="{330792AA-0B67-BB5A-B9A3-BAD9BC168163}"/>
              </a:ext>
            </a:extLst>
          </p:cNvPr>
          <p:cNvSpPr>
            <a:spLocks noGrp="1"/>
          </p:cNvSpPr>
          <p:nvPr>
            <p:ph sz="quarter" idx="11" hasCustomPrompt="1"/>
          </p:nvPr>
        </p:nvSpPr>
        <p:spPr>
          <a:xfrm>
            <a:off x="6097588" y="333375"/>
            <a:ext cx="5767123" cy="6191250"/>
          </a:xfrm>
          <a:solidFill>
            <a:schemeClr val="bg1">
              <a:lumMod val="95000"/>
            </a:schemeClr>
          </a:solidFill>
        </p:spPr>
        <p:txBody>
          <a:bodyPr lIns="504000" tIns="756000" rIns="504000" bIns="468000">
            <a:noAutofit/>
          </a:bodyPr>
          <a:lstStyle>
            <a:lvl1pPr>
              <a:defRPr lang="en-US" sz="2000" dirty="0" smtClean="0"/>
            </a:lvl1pPr>
            <a:lvl2pPr>
              <a:defRPr lang="en-US" sz="2000" dirty="0"/>
            </a:lvl2pPr>
            <a:lvl3pPr>
              <a:defRPr lang="en-US" sz="1800" dirty="0"/>
            </a:lvl3pPr>
            <a:lvl4pPr>
              <a:spcBef>
                <a:spcPts val="600"/>
              </a:spcBef>
              <a:spcAft>
                <a:spcPts val="400"/>
              </a:spcAft>
              <a:defRPr lang="en-US" sz="3000" dirty="0">
                <a:latin typeface="+mj-lt"/>
              </a:defRPr>
            </a:lvl4pPr>
            <a:lvl5pPr marL="0" marR="0" indent="0" algn="l" defTabSz="1088776" rtl="0" eaLnBrk="1" fontAlgn="auto" latinLnBrk="0" hangingPunct="1">
              <a:lnSpc>
                <a:spcPct val="100000"/>
              </a:lnSpc>
              <a:spcBef>
                <a:spcPts val="0"/>
              </a:spcBef>
              <a:spcAft>
                <a:spcPts val="1000"/>
              </a:spcAft>
              <a:buClrTx/>
              <a:buSzTx/>
              <a:buFont typeface="Arial" pitchFamily="34" charset="0"/>
              <a:buNone/>
              <a:tabLst/>
              <a:defRPr lang="en-US" sz="2000" dirty="0" smtClean="0"/>
            </a:lvl5pPr>
            <a:lvl6pPr>
              <a:spcBef>
                <a:spcPts val="600"/>
              </a:spcBef>
              <a:spcAft>
                <a:spcPts val="400"/>
              </a:spcAft>
              <a:defRPr lang="en-US" sz="1600" dirty="0" smtClean="0"/>
            </a:lvl6pPr>
            <a:lvl7pPr>
              <a:defRPr sz="2000"/>
            </a:lvl7pPr>
            <a:lvl8pPr>
              <a:defRPr sz="1800"/>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7" name="Content Placeholder 3">
            <a:extLst>
              <a:ext uri="{FF2B5EF4-FFF2-40B4-BE49-F238E27FC236}">
                <a16:creationId xmlns:a16="http://schemas.microsoft.com/office/drawing/2014/main" id="{022CFFA5-6B2F-4B0A-7712-D624BC194251}"/>
              </a:ext>
            </a:extLst>
          </p:cNvPr>
          <p:cNvSpPr>
            <a:spLocks noGrp="1"/>
          </p:cNvSpPr>
          <p:nvPr>
            <p:ph sz="quarter" idx="27" hasCustomPrompt="1"/>
          </p:nvPr>
        </p:nvSpPr>
        <p:spPr>
          <a:xfrm>
            <a:off x="696913" y="2982678"/>
            <a:ext cx="4956942" cy="2761705"/>
          </a:xfrm>
        </p:spPr>
        <p:txBody>
          <a:bodyPr numCol="1" spcCol="0">
            <a:noAutofit/>
          </a:bodyPr>
          <a:lstStyle>
            <a:lvl1pPr>
              <a:defRPr lang="en-US" dirty="0" smtClean="0"/>
            </a:lvl1pPr>
            <a:lvl2pPr>
              <a:defRPr lang="en-US" dirty="0"/>
            </a:lvl2pPr>
            <a:lvl3pPr>
              <a:defRPr lang="en-US" dirty="0"/>
            </a:lvl3pPr>
            <a:lvl4pPr>
              <a:spcBef>
                <a:spcPts val="0"/>
              </a:spcBef>
              <a:spcAft>
                <a:spcPts val="1000"/>
              </a:spcAft>
              <a:defRPr lang="en-US" sz="4000" dirty="0"/>
            </a:lvl4pPr>
            <a:lvl5pPr marL="0" marR="0" indent="0" algn="l" defTabSz="1088776" rtl="0" eaLnBrk="1" fontAlgn="auto" latinLnBrk="0" hangingPunct="1">
              <a:lnSpc>
                <a:spcPct val="100000"/>
              </a:lnSpc>
              <a:spcBef>
                <a:spcPts val="600"/>
              </a:spcBef>
              <a:spcAft>
                <a:spcPts val="400"/>
              </a:spcAft>
              <a:buClrTx/>
              <a:buSzTx/>
              <a:buFont typeface="Arial" pitchFamily="34" charset="0"/>
              <a:buNone/>
              <a:tabLst/>
              <a:defRPr lang="en-US" dirty="0" smtClean="0"/>
            </a:lvl5pPr>
            <a:lvl6pPr>
              <a:defRPr lang="en-US" sz="1800" dirty="0" smtClean="0"/>
            </a:lvl6pPr>
            <a:lvl7pPr>
              <a:defRPr/>
            </a:lvl7pPr>
            <a:lvl8pPr>
              <a:defRPr/>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3" name="Footer Placeholder 2">
            <a:extLst>
              <a:ext uri="{FF2B5EF4-FFF2-40B4-BE49-F238E27FC236}">
                <a16:creationId xmlns:a16="http://schemas.microsoft.com/office/drawing/2014/main" id="{9573DC4B-B626-E2AF-5FBA-06E547B3EEAF}"/>
              </a:ext>
            </a:extLst>
          </p:cNvPr>
          <p:cNvSpPr>
            <a:spLocks noGrp="1"/>
          </p:cNvSpPr>
          <p:nvPr>
            <p:ph type="ftr" sz="quarter" idx="28"/>
          </p:nvPr>
        </p:nvSpPr>
        <p:spPr/>
        <p:txBody>
          <a:bodyPr/>
          <a:lstStyle/>
          <a:p>
            <a:endParaRPr lang="en-AU"/>
          </a:p>
        </p:txBody>
      </p:sp>
    </p:spTree>
    <p:extLst>
      <p:ext uri="{BB962C8B-B14F-4D97-AF65-F5344CB8AC3E}">
        <p14:creationId xmlns:p14="http://schemas.microsoft.com/office/powerpoint/2010/main" val="374338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adient with 4 Icon Breakdow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44E5588-C026-84DF-16F1-947E7BA2F40C}"/>
              </a:ext>
            </a:extLst>
          </p:cNvPr>
          <p:cNvSpPr/>
          <p:nvPr userDrawn="1"/>
        </p:nvSpPr>
        <p:spPr>
          <a:xfrm>
            <a:off x="-1" y="0"/>
            <a:ext cx="12195175" cy="20616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14" name="Rectangle 13">
            <a:extLst>
              <a:ext uri="{FF2B5EF4-FFF2-40B4-BE49-F238E27FC236}">
                <a16:creationId xmlns:a16="http://schemas.microsoft.com/office/drawing/2014/main" id="{1632B8D0-6D76-69DA-6CA9-1F17D87767C4}"/>
              </a:ext>
            </a:extLst>
          </p:cNvPr>
          <p:cNvSpPr/>
          <p:nvPr userDrawn="1"/>
        </p:nvSpPr>
        <p:spPr>
          <a:xfrm>
            <a:off x="-1" y="2061642"/>
            <a:ext cx="12195175" cy="1966348"/>
          </a:xfrm>
          <a:prstGeom prst="rect">
            <a:avLst/>
          </a:prstGeom>
          <a:gradFill flip="none" rotWithShape="1">
            <a:gsLst>
              <a:gs pos="99000">
                <a:schemeClr val="tx1"/>
              </a:gs>
              <a:gs pos="0">
                <a:schemeClr val="accent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33" name="Slide Number Placeholder 32">
            <a:extLst>
              <a:ext uri="{FF2B5EF4-FFF2-40B4-BE49-F238E27FC236}">
                <a16:creationId xmlns:a16="http://schemas.microsoft.com/office/drawing/2014/main" id="{4EE5B97A-C6A4-AF27-2DF5-AA15B5055E04}"/>
              </a:ext>
            </a:extLst>
          </p:cNvPr>
          <p:cNvSpPr>
            <a:spLocks noGrp="1"/>
          </p:cNvSpPr>
          <p:nvPr>
            <p:ph type="sldNum" sz="quarter" idx="25"/>
          </p:nvPr>
        </p:nvSpPr>
        <p:spPr/>
        <p:txBody>
          <a:bodyPr/>
          <a:lstStyle/>
          <a:p>
            <a:fld id="{E917DE0E-AFB1-41FD-BC35-27DB61CA125F}" type="slidenum">
              <a:rPr lang="en-AU" smtClean="0"/>
              <a:pPr/>
              <a:t>‹#›</a:t>
            </a:fld>
            <a:endParaRPr lang="en-AU"/>
          </a:p>
        </p:txBody>
      </p:sp>
      <p:sp>
        <p:nvSpPr>
          <p:cNvPr id="27" name="Content Placeholder 3">
            <a:extLst>
              <a:ext uri="{FF2B5EF4-FFF2-40B4-BE49-F238E27FC236}">
                <a16:creationId xmlns:a16="http://schemas.microsoft.com/office/drawing/2014/main" id="{AC22880B-AC59-2BB7-5412-3422C0886E24}"/>
              </a:ext>
            </a:extLst>
          </p:cNvPr>
          <p:cNvSpPr>
            <a:spLocks noGrp="1"/>
          </p:cNvSpPr>
          <p:nvPr>
            <p:ph sz="quarter" idx="15" hasCustomPrompt="1"/>
          </p:nvPr>
        </p:nvSpPr>
        <p:spPr>
          <a:xfrm>
            <a:off x="696913" y="4359797"/>
            <a:ext cx="2391120" cy="1914003"/>
          </a:xfrm>
        </p:spPr>
        <p:txBody>
          <a:bodyPr lIns="108000" rIns="108000" numCol="1" spcCol="0">
            <a:noAutofit/>
          </a:bodyPr>
          <a:lstStyle>
            <a:lvl1pPr algn="ctr">
              <a:defRPr lang="en-US" dirty="0" smtClean="0"/>
            </a:lvl1pPr>
            <a:lvl2pPr algn="ctr">
              <a:defRPr lang="en-US" dirty="0"/>
            </a:lvl2pPr>
            <a:lvl3pPr algn="ctr">
              <a:defRPr lang="en-US" dirty="0"/>
            </a:lvl3pPr>
            <a:lvl4pPr algn="ctr">
              <a:defRPr lang="en-US" sz="1400" dirty="0"/>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200" dirty="0" smtClean="0"/>
            </a:lvl5pPr>
            <a:lvl6pPr algn="ctr">
              <a:defRPr lang="en-US" sz="1100" dirty="0" smtClean="0"/>
            </a:lvl6pPr>
            <a:lvl7pPr algn="ctr">
              <a:defRPr/>
            </a:lvl7pPr>
            <a:lvl8pPr algn="ctr">
              <a:defRPr/>
            </a:lvl8pPr>
            <a:lvl9pPr algn="ct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37" name="Content Placeholder 3">
            <a:extLst>
              <a:ext uri="{FF2B5EF4-FFF2-40B4-BE49-F238E27FC236}">
                <a16:creationId xmlns:a16="http://schemas.microsoft.com/office/drawing/2014/main" id="{317540BA-04CB-1C06-F981-BD3D73CE8902}"/>
              </a:ext>
            </a:extLst>
          </p:cNvPr>
          <p:cNvSpPr>
            <a:spLocks noGrp="1"/>
          </p:cNvSpPr>
          <p:nvPr>
            <p:ph sz="quarter" idx="32" hasCustomPrompt="1"/>
          </p:nvPr>
        </p:nvSpPr>
        <p:spPr>
          <a:xfrm>
            <a:off x="696912" y="549275"/>
            <a:ext cx="10801351" cy="1042987"/>
          </a:xfrm>
        </p:spPr>
        <p:txBody>
          <a:bodyPr numCol="1" spcCol="0">
            <a:noAutofit/>
          </a:bodyPr>
          <a:lstStyle>
            <a:lvl1pPr algn="ctr">
              <a:defRPr lang="en-US" dirty="0" smtClean="0">
                <a:solidFill>
                  <a:schemeClr val="bg1"/>
                </a:solidFill>
              </a:defRPr>
            </a:lvl1pPr>
            <a:lvl2pPr algn="ctr">
              <a:buClr>
                <a:schemeClr val="bg1"/>
              </a:buClr>
              <a:defRPr lang="en-US" dirty="0">
                <a:solidFill>
                  <a:schemeClr val="bg1"/>
                </a:solidFill>
              </a:defRPr>
            </a:lvl2pPr>
            <a:lvl3pPr algn="ctr">
              <a:defRPr lang="en-US" dirty="0">
                <a:solidFill>
                  <a:schemeClr val="bg1"/>
                </a:solidFill>
              </a:defRPr>
            </a:lvl3pPr>
            <a:lvl4pPr algn="ctr">
              <a:spcBef>
                <a:spcPts val="600"/>
              </a:spcBef>
              <a:spcAft>
                <a:spcPts val="400"/>
              </a:spcAft>
              <a:defRPr lang="en-US" sz="3000" dirty="0">
                <a:solidFill>
                  <a:schemeClr val="bg1"/>
                </a:solidFill>
              </a:defRPr>
            </a:lvl4pPr>
            <a:lvl5pPr marL="0" marR="0" indent="0" algn="ctr" defTabSz="1088776" rtl="0" eaLnBrk="1" fontAlgn="auto" latinLnBrk="0" hangingPunct="1">
              <a:lnSpc>
                <a:spcPct val="100000"/>
              </a:lnSpc>
              <a:spcBef>
                <a:spcPts val="600"/>
              </a:spcBef>
              <a:spcAft>
                <a:spcPts val="400"/>
              </a:spcAft>
              <a:buClrTx/>
              <a:buSzTx/>
              <a:buFont typeface="Arial" pitchFamily="34" charset="0"/>
              <a:buNone/>
              <a:tabLst/>
              <a:defRPr lang="en-US" dirty="0" smtClean="0">
                <a:solidFill>
                  <a:schemeClr val="bg1"/>
                </a:solidFill>
              </a:defRPr>
            </a:lvl5pPr>
            <a:lvl6pPr algn="ctr">
              <a:spcBef>
                <a:spcPts val="600"/>
              </a:spcBef>
              <a:spcAft>
                <a:spcPts val="400"/>
              </a:spcAft>
              <a:defRPr lang="en-US" dirty="0" smtClean="0">
                <a:solidFill>
                  <a:schemeClr val="bg1"/>
                </a:solidFill>
              </a:defRPr>
            </a:lvl6pPr>
            <a:lvl7pPr algn="ctr">
              <a:buClr>
                <a:schemeClr val="bg1"/>
              </a:buClr>
              <a:defRPr>
                <a:solidFill>
                  <a:schemeClr val="bg1"/>
                </a:solidFill>
              </a:defRPr>
            </a:lvl7pPr>
            <a:lvl8pPr algn="ctr">
              <a:buClr>
                <a:schemeClr val="bg1"/>
              </a:buClr>
              <a:defRPr>
                <a:solidFill>
                  <a:schemeClr val="bg1"/>
                </a:solidFill>
              </a:defRPr>
            </a:lvl8pPr>
            <a:lvl9pPr algn="ctr">
              <a:defRPr>
                <a:solidFill>
                  <a:schemeClr val="bg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Freeform 5">
            <a:extLst>
              <a:ext uri="{FF2B5EF4-FFF2-40B4-BE49-F238E27FC236}">
                <a16:creationId xmlns:a16="http://schemas.microsoft.com/office/drawing/2014/main" id="{AB148E77-2D50-D96B-4DD2-0382AD8021CC}"/>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3" name="Straight Connector 2">
            <a:extLst>
              <a:ext uri="{FF2B5EF4-FFF2-40B4-BE49-F238E27FC236}">
                <a16:creationId xmlns:a16="http://schemas.microsoft.com/office/drawing/2014/main" id="{7212F1E6-7734-9ADC-E0B2-8C28C9DF925E}"/>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4">
            <a:extLst>
              <a:ext uri="{FF2B5EF4-FFF2-40B4-BE49-F238E27FC236}">
                <a16:creationId xmlns:a16="http://schemas.microsoft.com/office/drawing/2014/main" id="{5ACAA102-55E3-E5BB-52A9-52BFF3EB3908}"/>
              </a:ext>
            </a:extLst>
          </p:cNvPr>
          <p:cNvSpPr>
            <a:spLocks noGrp="1"/>
          </p:cNvSpPr>
          <p:nvPr>
            <p:ph type="pic" sz="quarter" idx="42"/>
          </p:nvPr>
        </p:nvSpPr>
        <p:spPr>
          <a:xfrm>
            <a:off x="1395413" y="2555875"/>
            <a:ext cx="981075" cy="977900"/>
          </a:xfrm>
        </p:spPr>
        <p:txBody>
          <a:bodyPr anchor="ctr"/>
          <a:lstStyle>
            <a:lvl1pPr algn="ctr">
              <a:defRPr>
                <a:solidFill>
                  <a:schemeClr val="bg1"/>
                </a:solidFill>
              </a:defRPr>
            </a:lvl1pPr>
          </a:lstStyle>
          <a:p>
            <a:r>
              <a:rPr lang="en-US"/>
              <a:t>Click icon to add picture</a:t>
            </a:r>
            <a:endParaRPr lang="en-AU"/>
          </a:p>
        </p:txBody>
      </p:sp>
      <p:sp>
        <p:nvSpPr>
          <p:cNvPr id="8" name="Picture Placeholder 4">
            <a:extLst>
              <a:ext uri="{FF2B5EF4-FFF2-40B4-BE49-F238E27FC236}">
                <a16:creationId xmlns:a16="http://schemas.microsoft.com/office/drawing/2014/main" id="{11E054CC-D682-8A93-0402-178196E6D3AD}"/>
              </a:ext>
            </a:extLst>
          </p:cNvPr>
          <p:cNvSpPr>
            <a:spLocks noGrp="1"/>
          </p:cNvSpPr>
          <p:nvPr>
            <p:ph type="pic" sz="quarter" idx="43"/>
          </p:nvPr>
        </p:nvSpPr>
        <p:spPr>
          <a:xfrm>
            <a:off x="4200370" y="2555875"/>
            <a:ext cx="981075" cy="977900"/>
          </a:xfrm>
        </p:spPr>
        <p:txBody>
          <a:bodyPr anchor="ctr"/>
          <a:lstStyle>
            <a:lvl1pPr algn="ctr">
              <a:defRPr>
                <a:solidFill>
                  <a:schemeClr val="bg1"/>
                </a:solidFill>
              </a:defRPr>
            </a:lvl1pPr>
          </a:lstStyle>
          <a:p>
            <a:r>
              <a:rPr lang="en-US"/>
              <a:t>Click icon to add picture</a:t>
            </a:r>
            <a:endParaRPr lang="en-AU"/>
          </a:p>
        </p:txBody>
      </p:sp>
      <p:sp>
        <p:nvSpPr>
          <p:cNvPr id="12" name="Picture Placeholder 4">
            <a:extLst>
              <a:ext uri="{FF2B5EF4-FFF2-40B4-BE49-F238E27FC236}">
                <a16:creationId xmlns:a16="http://schemas.microsoft.com/office/drawing/2014/main" id="{70457D6C-4BF6-3D18-95DA-23884F77D565}"/>
              </a:ext>
            </a:extLst>
          </p:cNvPr>
          <p:cNvSpPr>
            <a:spLocks noGrp="1"/>
          </p:cNvSpPr>
          <p:nvPr>
            <p:ph type="pic" sz="quarter" idx="44"/>
          </p:nvPr>
        </p:nvSpPr>
        <p:spPr>
          <a:xfrm>
            <a:off x="7013731" y="2555875"/>
            <a:ext cx="981075" cy="977900"/>
          </a:xfrm>
        </p:spPr>
        <p:txBody>
          <a:bodyPr anchor="ctr"/>
          <a:lstStyle>
            <a:lvl1pPr algn="ctr">
              <a:defRPr>
                <a:solidFill>
                  <a:schemeClr val="bg1"/>
                </a:solidFill>
              </a:defRPr>
            </a:lvl1pPr>
          </a:lstStyle>
          <a:p>
            <a:r>
              <a:rPr lang="en-US"/>
              <a:t>Click icon to add picture</a:t>
            </a:r>
            <a:endParaRPr lang="en-AU"/>
          </a:p>
        </p:txBody>
      </p:sp>
      <p:sp>
        <p:nvSpPr>
          <p:cNvPr id="13" name="Picture Placeholder 4">
            <a:extLst>
              <a:ext uri="{FF2B5EF4-FFF2-40B4-BE49-F238E27FC236}">
                <a16:creationId xmlns:a16="http://schemas.microsoft.com/office/drawing/2014/main" id="{8646B010-3CA1-B0AC-C132-080DC77521AB}"/>
              </a:ext>
            </a:extLst>
          </p:cNvPr>
          <p:cNvSpPr>
            <a:spLocks noGrp="1"/>
          </p:cNvSpPr>
          <p:nvPr>
            <p:ph type="pic" sz="quarter" idx="45"/>
          </p:nvPr>
        </p:nvSpPr>
        <p:spPr>
          <a:xfrm>
            <a:off x="9818688" y="2555875"/>
            <a:ext cx="981075" cy="977900"/>
          </a:xfrm>
        </p:spPr>
        <p:txBody>
          <a:bodyPr anchor="ctr"/>
          <a:lstStyle>
            <a:lvl1pPr algn="ctr">
              <a:defRPr>
                <a:solidFill>
                  <a:schemeClr val="bg1"/>
                </a:solidFill>
              </a:defRPr>
            </a:lvl1pPr>
          </a:lstStyle>
          <a:p>
            <a:r>
              <a:rPr lang="en-US"/>
              <a:t>Click icon to add picture</a:t>
            </a:r>
            <a:endParaRPr lang="en-AU"/>
          </a:p>
        </p:txBody>
      </p:sp>
      <p:sp>
        <p:nvSpPr>
          <p:cNvPr id="4" name="Content Placeholder 3">
            <a:extLst>
              <a:ext uri="{FF2B5EF4-FFF2-40B4-BE49-F238E27FC236}">
                <a16:creationId xmlns:a16="http://schemas.microsoft.com/office/drawing/2014/main" id="{75240113-EE30-FF10-B2FC-E911721D6869}"/>
              </a:ext>
            </a:extLst>
          </p:cNvPr>
          <p:cNvSpPr>
            <a:spLocks noGrp="1"/>
          </p:cNvSpPr>
          <p:nvPr>
            <p:ph sz="quarter" idx="46" hasCustomPrompt="1"/>
          </p:nvPr>
        </p:nvSpPr>
        <p:spPr>
          <a:xfrm>
            <a:off x="3495347" y="4359797"/>
            <a:ext cx="2391120" cy="1914003"/>
          </a:xfrm>
        </p:spPr>
        <p:txBody>
          <a:bodyPr lIns="108000" rIns="108000" numCol="1" spcCol="0">
            <a:noAutofit/>
          </a:bodyPr>
          <a:lstStyle>
            <a:lvl1pPr algn="ctr">
              <a:defRPr lang="en-US" dirty="0" smtClean="0"/>
            </a:lvl1pPr>
            <a:lvl2pPr algn="ctr">
              <a:defRPr lang="en-US" dirty="0"/>
            </a:lvl2pPr>
            <a:lvl3pPr algn="ctr">
              <a:defRPr lang="en-US" dirty="0"/>
            </a:lvl3pPr>
            <a:lvl4pPr algn="ctr">
              <a:defRPr lang="en-US" sz="1400" dirty="0"/>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200" dirty="0" smtClean="0"/>
            </a:lvl5pPr>
            <a:lvl6pPr algn="ctr">
              <a:defRPr lang="en-US" sz="1100" dirty="0" smtClean="0"/>
            </a:lvl6pPr>
            <a:lvl7pPr algn="ctr">
              <a:defRPr/>
            </a:lvl7pPr>
            <a:lvl8pPr algn="ctr">
              <a:defRPr/>
            </a:lvl8pPr>
            <a:lvl9pPr algn="ct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9" name="Content Placeholder 3">
            <a:extLst>
              <a:ext uri="{FF2B5EF4-FFF2-40B4-BE49-F238E27FC236}">
                <a16:creationId xmlns:a16="http://schemas.microsoft.com/office/drawing/2014/main" id="{02E77FEF-471D-F766-601B-AF284C74E28F}"/>
              </a:ext>
            </a:extLst>
          </p:cNvPr>
          <p:cNvSpPr>
            <a:spLocks noGrp="1"/>
          </p:cNvSpPr>
          <p:nvPr>
            <p:ph sz="quarter" idx="47" hasCustomPrompt="1"/>
          </p:nvPr>
        </p:nvSpPr>
        <p:spPr>
          <a:xfrm>
            <a:off x="6303733" y="4359797"/>
            <a:ext cx="2391120" cy="1914003"/>
          </a:xfrm>
        </p:spPr>
        <p:txBody>
          <a:bodyPr lIns="108000" rIns="108000" numCol="1" spcCol="0">
            <a:noAutofit/>
          </a:bodyPr>
          <a:lstStyle>
            <a:lvl1pPr algn="ctr">
              <a:defRPr lang="en-US" dirty="0" smtClean="0"/>
            </a:lvl1pPr>
            <a:lvl2pPr algn="ctr">
              <a:defRPr lang="en-US" dirty="0"/>
            </a:lvl2pPr>
            <a:lvl3pPr algn="ctr">
              <a:defRPr lang="en-US" dirty="0"/>
            </a:lvl3pPr>
            <a:lvl4pPr algn="ctr">
              <a:defRPr lang="en-US" sz="1400" dirty="0"/>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200" dirty="0" smtClean="0"/>
            </a:lvl5pPr>
            <a:lvl6pPr algn="ctr">
              <a:defRPr lang="en-US" sz="1100" dirty="0" smtClean="0"/>
            </a:lvl6pPr>
            <a:lvl7pPr algn="ctr">
              <a:defRPr/>
            </a:lvl7pPr>
            <a:lvl8pPr algn="ctr">
              <a:defRPr/>
            </a:lvl8pPr>
            <a:lvl9pPr algn="ct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0" name="Content Placeholder 3">
            <a:extLst>
              <a:ext uri="{FF2B5EF4-FFF2-40B4-BE49-F238E27FC236}">
                <a16:creationId xmlns:a16="http://schemas.microsoft.com/office/drawing/2014/main" id="{FE9E6F2A-203F-D02A-918E-7256ED8CC612}"/>
              </a:ext>
            </a:extLst>
          </p:cNvPr>
          <p:cNvSpPr>
            <a:spLocks noGrp="1"/>
          </p:cNvSpPr>
          <p:nvPr>
            <p:ph sz="quarter" idx="48" hasCustomPrompt="1"/>
          </p:nvPr>
        </p:nvSpPr>
        <p:spPr>
          <a:xfrm>
            <a:off x="9102167" y="4359797"/>
            <a:ext cx="2391120" cy="1914003"/>
          </a:xfrm>
        </p:spPr>
        <p:txBody>
          <a:bodyPr lIns="108000" rIns="108000" numCol="1" spcCol="0">
            <a:noAutofit/>
          </a:bodyPr>
          <a:lstStyle>
            <a:lvl1pPr algn="ctr">
              <a:defRPr lang="en-US" dirty="0" smtClean="0"/>
            </a:lvl1pPr>
            <a:lvl2pPr algn="ctr">
              <a:defRPr lang="en-US" dirty="0"/>
            </a:lvl2pPr>
            <a:lvl3pPr algn="ctr">
              <a:defRPr lang="en-US" dirty="0"/>
            </a:lvl3pPr>
            <a:lvl4pPr algn="ctr">
              <a:defRPr lang="en-US" sz="1400" dirty="0"/>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200" dirty="0" smtClean="0"/>
            </a:lvl5pPr>
            <a:lvl6pPr algn="ctr">
              <a:defRPr lang="en-US" sz="1100" dirty="0" smtClean="0"/>
            </a:lvl6pPr>
            <a:lvl7pPr algn="ctr">
              <a:defRPr/>
            </a:lvl7pPr>
            <a:lvl8pPr algn="ctr">
              <a:defRPr/>
            </a:lvl8pPr>
            <a:lvl9pPr algn="ct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5" name="Footer Placeholder 4">
            <a:extLst>
              <a:ext uri="{FF2B5EF4-FFF2-40B4-BE49-F238E27FC236}">
                <a16:creationId xmlns:a16="http://schemas.microsoft.com/office/drawing/2014/main" id="{032114DF-E59F-E4E2-3910-ABF99888CB28}"/>
              </a:ext>
            </a:extLst>
          </p:cNvPr>
          <p:cNvSpPr>
            <a:spLocks noGrp="1"/>
          </p:cNvSpPr>
          <p:nvPr>
            <p:ph type="ftr" sz="quarter" idx="49"/>
          </p:nvPr>
        </p:nvSpPr>
        <p:spPr/>
        <p:txBody>
          <a:bodyPr/>
          <a:lstStyle/>
          <a:p>
            <a:endParaRPr lang="en-AU"/>
          </a:p>
        </p:txBody>
      </p:sp>
    </p:spTree>
    <p:extLst>
      <p:ext uri="{BB962C8B-B14F-4D97-AF65-F5344CB8AC3E}">
        <p14:creationId xmlns:p14="http://schemas.microsoft.com/office/powerpoint/2010/main" val="94692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and Gradient Quote">
    <p:bg>
      <p:bgPr>
        <a:blipFill dpi="0" rotWithShape="1">
          <a:blip r:embed="rId2">
            <a:lum/>
          </a:blip>
          <a:srcRect/>
          <a:stretch>
            <a:fillRect l="-29000" r="-29000"/>
          </a:stretch>
        </a:blipFill>
        <a:effectLst/>
      </p:bgPr>
    </p:bg>
    <p:spTree>
      <p:nvGrpSpPr>
        <p:cNvPr id="1" name=""/>
        <p:cNvGrpSpPr/>
        <p:nvPr/>
      </p:nvGrpSpPr>
      <p:grpSpPr>
        <a:xfrm>
          <a:off x="0" y="0"/>
          <a:ext cx="0" cy="0"/>
          <a:chOff x="0" y="0"/>
          <a:chExt cx="0" cy="0"/>
        </a:xfrm>
      </p:grpSpPr>
      <p:sp>
        <p:nvSpPr>
          <p:cNvPr id="11" name="TextBox 10" descr="InstructionsBox">
            <a:extLst>
              <a:ext uri="{FF2B5EF4-FFF2-40B4-BE49-F238E27FC236}">
                <a16:creationId xmlns:a16="http://schemas.microsoft.com/office/drawing/2014/main" id="{5CFDE11A-7131-E2A6-3527-B336305EF4D5}"/>
              </a:ext>
            </a:extLst>
          </p:cNvPr>
          <p:cNvSpPr txBox="1"/>
          <p:nvPr userDrawn="1"/>
        </p:nvSpPr>
        <p:spPr>
          <a:xfrm>
            <a:off x="2" y="-2042813"/>
            <a:ext cx="9012162" cy="1988070"/>
          </a:xfrm>
          <a:prstGeom prst="rect">
            <a:avLst/>
          </a:prstGeom>
          <a:solidFill>
            <a:schemeClr val="accent1"/>
          </a:solidFill>
        </p:spPr>
        <p:txBody>
          <a:bodyPr wrap="square" rtlCol="0">
            <a:noAutofit/>
          </a:bodyPr>
          <a:lstStyle/>
          <a:p>
            <a:r>
              <a:rPr lang="en-AU" sz="1400">
                <a:solidFill>
                  <a:schemeClr val="bg1"/>
                </a:solidFill>
              </a:rPr>
              <a:t>For this slide design, you can choose your own image by right-clicking </a:t>
            </a:r>
            <a:br>
              <a:rPr lang="en-AU" sz="1400">
                <a:solidFill>
                  <a:schemeClr val="bg1"/>
                </a:solidFill>
              </a:rPr>
            </a:br>
            <a:r>
              <a:rPr lang="en-AU" sz="1400">
                <a:solidFill>
                  <a:schemeClr val="bg1"/>
                </a:solidFill>
              </a:rPr>
              <a:t>somewhere on the slide, not in a content placeholder.</a:t>
            </a:r>
          </a:p>
          <a:p>
            <a:r>
              <a:rPr lang="en-US" sz="1400">
                <a:solidFill>
                  <a:schemeClr val="bg1"/>
                </a:solidFill>
              </a:rPr>
              <a:t>‘Format Background</a:t>
            </a:r>
          </a:p>
          <a:p>
            <a:r>
              <a:rPr lang="en-US" sz="1400">
                <a:solidFill>
                  <a:schemeClr val="bg1"/>
                </a:solidFill>
              </a:rPr>
              <a:t>Under the ‘Fill’ menu, ‘Picture’ is already selected</a:t>
            </a:r>
          </a:p>
          <a:p>
            <a:r>
              <a:rPr lang="en-US" sz="1400">
                <a:solidFill>
                  <a:schemeClr val="bg1"/>
                </a:solidFill>
              </a:rPr>
              <a:t>Go to the ‘File’ button and select another image</a:t>
            </a:r>
          </a:p>
        </p:txBody>
      </p:sp>
      <p:sp>
        <p:nvSpPr>
          <p:cNvPr id="13" name="Slide Number Placeholder 12">
            <a:extLst>
              <a:ext uri="{FF2B5EF4-FFF2-40B4-BE49-F238E27FC236}">
                <a16:creationId xmlns:a16="http://schemas.microsoft.com/office/drawing/2014/main" id="{17FCAEE8-2205-DBD4-30D1-689191645A28}"/>
              </a:ext>
            </a:extLst>
          </p:cNvPr>
          <p:cNvSpPr>
            <a:spLocks noGrp="1"/>
          </p:cNvSpPr>
          <p:nvPr>
            <p:ph type="sldNum" sz="quarter" idx="2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7" name="Content Placeholder 3">
            <a:extLst>
              <a:ext uri="{FF2B5EF4-FFF2-40B4-BE49-F238E27FC236}">
                <a16:creationId xmlns:a16="http://schemas.microsoft.com/office/drawing/2014/main" id="{485B5CA7-5A76-5CA6-AFAE-F40674D98989}"/>
              </a:ext>
            </a:extLst>
          </p:cNvPr>
          <p:cNvSpPr>
            <a:spLocks noGrp="1"/>
          </p:cNvSpPr>
          <p:nvPr>
            <p:ph sz="quarter" idx="15" hasCustomPrompt="1"/>
          </p:nvPr>
        </p:nvSpPr>
        <p:spPr>
          <a:xfrm>
            <a:off x="1561083" y="1574157"/>
            <a:ext cx="9071510" cy="3711276"/>
          </a:xfrm>
          <a:gradFill flip="none" rotWithShape="1">
            <a:gsLst>
              <a:gs pos="99000">
                <a:schemeClr val="tx1">
                  <a:alpha val="75000"/>
                </a:schemeClr>
              </a:gs>
              <a:gs pos="0">
                <a:schemeClr val="accent1">
                  <a:alpha val="75000"/>
                </a:schemeClr>
              </a:gs>
            </a:gsLst>
            <a:path path="circle">
              <a:fillToRect r="100000" b="100000"/>
            </a:path>
            <a:tileRect l="-100000" t="-100000"/>
          </a:gradFill>
        </p:spPr>
        <p:txBody>
          <a:bodyPr lIns="108000" tIns="108000" rIns="108000" bIns="108000" numCol="1" spcCol="0" anchor="ctr">
            <a:noAutofit/>
          </a:bodyPr>
          <a:lstStyle>
            <a:lvl1pPr algn="ctr">
              <a:spcAft>
                <a:spcPts val="1500"/>
              </a:spcAft>
              <a:defRPr lang="en-US" dirty="0" smtClean="0">
                <a:solidFill>
                  <a:schemeClr val="bg1"/>
                </a:solidFill>
              </a:defRPr>
            </a:lvl1pPr>
            <a:lvl2pPr algn="ctr">
              <a:defRPr lang="en-US" dirty="0">
                <a:solidFill>
                  <a:schemeClr val="bg1"/>
                </a:solidFill>
              </a:defRPr>
            </a:lvl2pPr>
            <a:lvl3pPr algn="ctr">
              <a:defRPr lang="en-US" dirty="0">
                <a:solidFill>
                  <a:schemeClr val="bg1"/>
                </a:solidFill>
              </a:defRPr>
            </a:lvl3pPr>
            <a:lvl4pPr algn="ctr">
              <a:spcBef>
                <a:spcPts val="0"/>
              </a:spcBef>
              <a:spcAft>
                <a:spcPts val="1500"/>
              </a:spcAft>
              <a:defRPr lang="en-US" sz="4000" dirty="0">
                <a:solidFill>
                  <a:schemeClr val="bg1"/>
                </a:solidFill>
              </a:defRPr>
            </a:lvl4pPr>
            <a:lvl5pPr marL="0" marR="0" indent="0" algn="ctr" defTabSz="1088776" rtl="0" eaLnBrk="1" fontAlgn="auto" latinLnBrk="0" hangingPunct="1">
              <a:lnSpc>
                <a:spcPct val="100000"/>
              </a:lnSpc>
              <a:spcBef>
                <a:spcPts val="0"/>
              </a:spcBef>
              <a:spcAft>
                <a:spcPts val="0"/>
              </a:spcAft>
              <a:buClrTx/>
              <a:buSzTx/>
              <a:buFont typeface="Arial" pitchFamily="34" charset="0"/>
              <a:buNone/>
              <a:tabLst/>
              <a:defRPr lang="en-US" sz="2400" b="1" i="1" dirty="0" smtClean="0">
                <a:solidFill>
                  <a:schemeClr val="bg1"/>
                </a:solidFill>
                <a:latin typeface="Calibri" panose="020F0502020204030204" pitchFamily="34" charset="0"/>
                <a:ea typeface="Calibri" panose="020F0502020204030204" pitchFamily="34" charset="0"/>
                <a:cs typeface="Calibri" panose="020F0502020204030204" pitchFamily="34" charset="0"/>
              </a:defRPr>
            </a:lvl5pPr>
            <a:lvl6pPr algn="ctr">
              <a:defRPr lang="en-US" dirty="0" smtClean="0">
                <a:solidFill>
                  <a:schemeClr val="bg1"/>
                </a:solidFill>
              </a:defRPr>
            </a:lvl6pPr>
            <a:lvl7pPr algn="ctr">
              <a:buClr>
                <a:schemeClr val="bg1"/>
              </a:buClr>
              <a:defRPr>
                <a:solidFill>
                  <a:schemeClr val="bg1"/>
                </a:solidFill>
              </a:defRPr>
            </a:lvl7pPr>
            <a:lvl8pPr algn="ctr">
              <a:buClr>
                <a:schemeClr val="bg1"/>
              </a:buClr>
              <a:defRPr>
                <a:solidFill>
                  <a:schemeClr val="bg1"/>
                </a:solidFill>
              </a:defRPr>
            </a:lvl8pPr>
            <a:lvl9pPr algn="ctr">
              <a:defRPr>
                <a:solidFill>
                  <a:schemeClr val="bg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Freeform 10">
            <a:extLst>
              <a:ext uri="{FF2B5EF4-FFF2-40B4-BE49-F238E27FC236}">
                <a16:creationId xmlns:a16="http://schemas.microsoft.com/office/drawing/2014/main" id="{D2DB0DEC-F057-5E89-95DF-20CC050AF8CA}"/>
              </a:ext>
            </a:extLst>
          </p:cNvPr>
          <p:cNvSpPr/>
          <p:nvPr userDrawn="1"/>
        </p:nvSpPr>
        <p:spPr>
          <a:xfrm>
            <a:off x="11085885" y="6628923"/>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chemeClr val="bg1"/>
          </a:solidFill>
          <a:ln w="6350" cap="flat">
            <a:noFill/>
            <a:prstDash val="solid"/>
            <a:miter/>
          </a:ln>
        </p:spPr>
        <p:txBody>
          <a:bodyPr lIns="0" tIns="0" rIns="0" bIns="0" rtlCol="0" anchor="ctr">
            <a:noAutofit/>
          </a:bodyPr>
          <a:lstStyle/>
          <a:p>
            <a:endParaRPr lang="en-US"/>
          </a:p>
        </p:txBody>
      </p:sp>
      <p:cxnSp>
        <p:nvCxnSpPr>
          <p:cNvPr id="3" name="Straight Connector 2">
            <a:extLst>
              <a:ext uri="{FF2B5EF4-FFF2-40B4-BE49-F238E27FC236}">
                <a16:creationId xmlns:a16="http://schemas.microsoft.com/office/drawing/2014/main" id="{F7EEA046-8657-2E95-934E-03429CAC3F99}"/>
              </a:ext>
            </a:extLst>
          </p:cNvPr>
          <p:cNvCxnSpPr>
            <a:cxnSpLocks/>
          </p:cNvCxnSpPr>
          <p:nvPr userDrawn="1"/>
        </p:nvCxnSpPr>
        <p:spPr>
          <a:xfrm>
            <a:off x="11498898" y="6624976"/>
            <a:ext cx="0" cy="23302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3062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9F7301-9C5F-E247-6950-448E34CEE664}"/>
              </a:ext>
            </a:extLst>
          </p:cNvPr>
          <p:cNvSpPr/>
          <p:nvPr userDrawn="1"/>
        </p:nvSpPr>
        <p:spPr>
          <a:xfrm>
            <a:off x="0" y="0"/>
            <a:ext cx="12195174" cy="4328932"/>
          </a:xfrm>
          <a:prstGeom prst="rect">
            <a:avLst/>
          </a:prstGeom>
          <a:gradFill flip="none" rotWithShape="1">
            <a:gsLst>
              <a:gs pos="99000">
                <a:schemeClr val="tx1"/>
              </a:gs>
              <a:gs pos="0">
                <a:schemeClr val="accent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11" name="Rectangle 10">
            <a:extLst>
              <a:ext uri="{FF2B5EF4-FFF2-40B4-BE49-F238E27FC236}">
                <a16:creationId xmlns:a16="http://schemas.microsoft.com/office/drawing/2014/main" id="{628C0688-25A8-E72B-F521-22DBE09284F4}"/>
              </a:ext>
            </a:extLst>
          </p:cNvPr>
          <p:cNvSpPr/>
          <p:nvPr userDrawn="1"/>
        </p:nvSpPr>
        <p:spPr>
          <a:xfrm>
            <a:off x="0" y="4320540"/>
            <a:ext cx="12195175" cy="811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38" name="Slide Number Placeholder 37">
            <a:extLst>
              <a:ext uri="{FF2B5EF4-FFF2-40B4-BE49-F238E27FC236}">
                <a16:creationId xmlns:a16="http://schemas.microsoft.com/office/drawing/2014/main" id="{0488B331-C31F-FD2D-BF50-E4AAEAC640BD}"/>
              </a:ext>
            </a:extLst>
          </p:cNvPr>
          <p:cNvSpPr>
            <a:spLocks noGrp="1"/>
          </p:cNvSpPr>
          <p:nvPr>
            <p:ph type="sldNum" sz="quarter" idx="21"/>
          </p:nvPr>
        </p:nvSpPr>
        <p:spPr/>
        <p:txBody>
          <a:bodyPr/>
          <a:lstStyle/>
          <a:p>
            <a:fld id="{E917DE0E-AFB1-41FD-BC35-27DB61CA125F}" type="slidenum">
              <a:rPr lang="en-AU" smtClean="0"/>
              <a:pPr/>
              <a:t>‹#›</a:t>
            </a:fld>
            <a:endParaRPr lang="en-AU"/>
          </a:p>
        </p:txBody>
      </p:sp>
      <p:sp>
        <p:nvSpPr>
          <p:cNvPr id="3" name="Content Placeholder 3">
            <a:extLst>
              <a:ext uri="{FF2B5EF4-FFF2-40B4-BE49-F238E27FC236}">
                <a16:creationId xmlns:a16="http://schemas.microsoft.com/office/drawing/2014/main" id="{030A7709-666D-1B2F-2903-35BE83965586}"/>
              </a:ext>
            </a:extLst>
          </p:cNvPr>
          <p:cNvSpPr>
            <a:spLocks noGrp="1"/>
          </p:cNvSpPr>
          <p:nvPr>
            <p:ph sz="quarter" idx="11" hasCustomPrompt="1"/>
          </p:nvPr>
        </p:nvSpPr>
        <p:spPr>
          <a:xfrm>
            <a:off x="696914" y="4824700"/>
            <a:ext cx="10801350" cy="1449099"/>
          </a:xfrm>
        </p:spPr>
        <p:txBody>
          <a:bodyPr>
            <a:noAutofit/>
          </a:bodyPr>
          <a:lstStyle>
            <a:lvl1pPr algn="ctr">
              <a:defRPr lang="en-US" dirty="0" smtClean="0"/>
            </a:lvl1pPr>
            <a:lvl2pPr algn="ctr">
              <a:defRPr lang="en-US" dirty="0"/>
            </a:lvl2pPr>
            <a:lvl3pPr algn="ctr">
              <a:defRPr lang="en-US" dirty="0"/>
            </a:lvl3pPr>
            <a:lvl4pPr algn="ctr">
              <a:spcBef>
                <a:spcPts val="0"/>
              </a:spcBef>
              <a:spcAft>
                <a:spcPts val="1000"/>
              </a:spcAft>
              <a:defRPr lang="en-US" sz="4000" dirty="0">
                <a:latin typeface="+mj-lt"/>
              </a:defRPr>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2000" dirty="0" smtClean="0"/>
            </a:lvl5pPr>
            <a:lvl6pPr algn="ctr">
              <a:defRPr lang="en-US" sz="1800" dirty="0" smtClean="0"/>
            </a:lvl6pPr>
            <a:lvl7pPr algn="ctr">
              <a:defRPr sz="1400"/>
            </a:lvl7pPr>
            <a:lvl8pPr algn="ctr">
              <a:defRPr sz="1600"/>
            </a:lvl8pPr>
            <a:lvl9pPr algn="ct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Freeform 5">
            <a:extLst>
              <a:ext uri="{FF2B5EF4-FFF2-40B4-BE49-F238E27FC236}">
                <a16:creationId xmlns:a16="http://schemas.microsoft.com/office/drawing/2014/main" id="{752B8055-3CB4-26DC-C8B3-D3A9C480C7C7}"/>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6" name="Straight Connector 5">
            <a:extLst>
              <a:ext uri="{FF2B5EF4-FFF2-40B4-BE49-F238E27FC236}">
                <a16:creationId xmlns:a16="http://schemas.microsoft.com/office/drawing/2014/main" id="{13598E7B-119F-003D-C642-5A0B1A57870D}"/>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Picture Placeholder 6">
            <a:extLst>
              <a:ext uri="{FF2B5EF4-FFF2-40B4-BE49-F238E27FC236}">
                <a16:creationId xmlns:a16="http://schemas.microsoft.com/office/drawing/2014/main" id="{9E7073FC-9A88-307A-A4DA-07F35688AA2A}"/>
              </a:ext>
            </a:extLst>
          </p:cNvPr>
          <p:cNvSpPr>
            <a:spLocks noGrp="1"/>
          </p:cNvSpPr>
          <p:nvPr>
            <p:ph type="pic" sz="quarter" idx="24"/>
          </p:nvPr>
        </p:nvSpPr>
        <p:spPr>
          <a:xfrm>
            <a:off x="4759025" y="991414"/>
            <a:ext cx="2676826" cy="2678886"/>
          </a:xfrm>
        </p:spPr>
        <p:txBody>
          <a:bodyPr anchor="ctr"/>
          <a:lstStyle>
            <a:lvl1pPr algn="ctr">
              <a:defRPr>
                <a:solidFill>
                  <a:schemeClr val="bg1"/>
                </a:solidFill>
              </a:defRPr>
            </a:lvl1pPr>
          </a:lstStyle>
          <a:p>
            <a:r>
              <a:rPr lang="en-US"/>
              <a:t>Click icon to add picture</a:t>
            </a:r>
            <a:endParaRPr lang="en-AU"/>
          </a:p>
        </p:txBody>
      </p:sp>
      <p:sp>
        <p:nvSpPr>
          <p:cNvPr id="7" name="Footer Placeholder 6">
            <a:extLst>
              <a:ext uri="{FF2B5EF4-FFF2-40B4-BE49-F238E27FC236}">
                <a16:creationId xmlns:a16="http://schemas.microsoft.com/office/drawing/2014/main" id="{91E8541F-8794-E4CE-F3BC-78A33D23B01B}"/>
              </a:ext>
            </a:extLst>
          </p:cNvPr>
          <p:cNvSpPr>
            <a:spLocks noGrp="1"/>
          </p:cNvSpPr>
          <p:nvPr>
            <p:ph type="ftr" sz="quarter" idx="25"/>
          </p:nvPr>
        </p:nvSpPr>
        <p:spPr/>
        <p:txBody>
          <a:bodyPr/>
          <a:lstStyle/>
          <a:p>
            <a:endParaRPr lang="en-AU"/>
          </a:p>
        </p:txBody>
      </p:sp>
    </p:spTree>
    <p:extLst>
      <p:ext uri="{BB962C8B-B14F-4D97-AF65-F5344CB8AC3E}">
        <p14:creationId xmlns:p14="http://schemas.microsoft.com/office/powerpoint/2010/main" val="44719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36"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9F7301-9C5F-E247-6950-448E34CEE664}"/>
              </a:ext>
            </a:extLst>
          </p:cNvPr>
          <p:cNvSpPr/>
          <p:nvPr userDrawn="1"/>
        </p:nvSpPr>
        <p:spPr>
          <a:xfrm>
            <a:off x="0" y="3472404"/>
            <a:ext cx="12195174" cy="3386389"/>
          </a:xfrm>
          <a:prstGeom prst="rect">
            <a:avLst/>
          </a:prstGeom>
          <a:gradFill flip="none" rotWithShape="1">
            <a:gsLst>
              <a:gs pos="99000">
                <a:schemeClr val="tx1"/>
              </a:gs>
              <a:gs pos="0">
                <a:schemeClr val="accent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11" name="Rectangle 10">
            <a:extLst>
              <a:ext uri="{FF2B5EF4-FFF2-40B4-BE49-F238E27FC236}">
                <a16:creationId xmlns:a16="http://schemas.microsoft.com/office/drawing/2014/main" id="{628C0688-25A8-E72B-F521-22DBE09284F4}"/>
              </a:ext>
            </a:extLst>
          </p:cNvPr>
          <p:cNvSpPr/>
          <p:nvPr userDrawn="1"/>
        </p:nvSpPr>
        <p:spPr>
          <a:xfrm>
            <a:off x="0" y="3391260"/>
            <a:ext cx="12195175" cy="811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8" name="Freeform 10">
            <a:extLst>
              <a:ext uri="{FF2B5EF4-FFF2-40B4-BE49-F238E27FC236}">
                <a16:creationId xmlns:a16="http://schemas.microsoft.com/office/drawing/2014/main" id="{8BBA9143-39BA-1F19-828D-71B6585BFD33}"/>
              </a:ext>
            </a:extLst>
          </p:cNvPr>
          <p:cNvSpPr/>
          <p:nvPr userDrawn="1"/>
        </p:nvSpPr>
        <p:spPr>
          <a:xfrm>
            <a:off x="11085885" y="6628923"/>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chemeClr val="bg1"/>
          </a:solidFill>
          <a:ln w="6350" cap="flat">
            <a:noFill/>
            <a:prstDash val="solid"/>
            <a:miter/>
          </a:ln>
        </p:spPr>
        <p:txBody>
          <a:bodyPr lIns="0" tIns="0" rIns="0" bIns="0" rtlCol="0" anchor="ctr">
            <a:noAutofit/>
          </a:bodyPr>
          <a:lstStyle/>
          <a:p>
            <a:endParaRPr lang="en-US"/>
          </a:p>
        </p:txBody>
      </p:sp>
      <p:cxnSp>
        <p:nvCxnSpPr>
          <p:cNvPr id="9" name="Straight Connector 8">
            <a:extLst>
              <a:ext uri="{FF2B5EF4-FFF2-40B4-BE49-F238E27FC236}">
                <a16:creationId xmlns:a16="http://schemas.microsoft.com/office/drawing/2014/main" id="{8A14D80B-7266-1680-994C-4BDD3C4FD547}"/>
              </a:ext>
            </a:extLst>
          </p:cNvPr>
          <p:cNvCxnSpPr>
            <a:cxnSpLocks/>
          </p:cNvCxnSpPr>
          <p:nvPr userDrawn="1"/>
        </p:nvCxnSpPr>
        <p:spPr>
          <a:xfrm>
            <a:off x="11498898" y="6624976"/>
            <a:ext cx="0" cy="23302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11">
            <a:extLst>
              <a:ext uri="{FF2B5EF4-FFF2-40B4-BE49-F238E27FC236}">
                <a16:creationId xmlns:a16="http://schemas.microsoft.com/office/drawing/2014/main" id="{2F5CA9E8-73C2-36FE-4AE4-51E82FB5F55F}"/>
              </a:ext>
            </a:extLst>
          </p:cNvPr>
          <p:cNvSpPr>
            <a:spLocks noGrp="1"/>
          </p:cNvSpPr>
          <p:nvPr>
            <p:ph type="sldNum" sz="quarter" idx="21"/>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4" name="Picture Placeholder 6">
            <a:extLst>
              <a:ext uri="{FF2B5EF4-FFF2-40B4-BE49-F238E27FC236}">
                <a16:creationId xmlns:a16="http://schemas.microsoft.com/office/drawing/2014/main" id="{D8877678-13F4-662C-C433-2E49C8D0040A}"/>
              </a:ext>
            </a:extLst>
          </p:cNvPr>
          <p:cNvSpPr>
            <a:spLocks noGrp="1"/>
          </p:cNvSpPr>
          <p:nvPr>
            <p:ph type="pic" sz="quarter" idx="24"/>
          </p:nvPr>
        </p:nvSpPr>
        <p:spPr>
          <a:xfrm>
            <a:off x="4859337" y="549276"/>
            <a:ext cx="2476500" cy="2478088"/>
          </a:xfrm>
        </p:spPr>
        <p:txBody>
          <a:bodyPr anchor="ctr"/>
          <a:lstStyle>
            <a:lvl1pPr algn="ctr">
              <a:defRPr>
                <a:solidFill>
                  <a:schemeClr val="tx1"/>
                </a:solidFill>
              </a:defRPr>
            </a:lvl1pPr>
          </a:lstStyle>
          <a:p>
            <a:r>
              <a:rPr lang="en-US"/>
              <a:t>Click icon to add picture</a:t>
            </a:r>
            <a:endParaRPr lang="en-AU"/>
          </a:p>
        </p:txBody>
      </p:sp>
      <p:sp>
        <p:nvSpPr>
          <p:cNvPr id="10" name="Content Placeholder 3">
            <a:extLst>
              <a:ext uri="{FF2B5EF4-FFF2-40B4-BE49-F238E27FC236}">
                <a16:creationId xmlns:a16="http://schemas.microsoft.com/office/drawing/2014/main" id="{E471B9EB-2AA1-0B9F-29B1-2CD6D2892397}"/>
              </a:ext>
            </a:extLst>
          </p:cNvPr>
          <p:cNvSpPr>
            <a:spLocks noGrp="1"/>
          </p:cNvSpPr>
          <p:nvPr>
            <p:ph sz="quarter" idx="25" hasCustomPrompt="1"/>
          </p:nvPr>
        </p:nvSpPr>
        <p:spPr>
          <a:xfrm>
            <a:off x="696914" y="4368534"/>
            <a:ext cx="10801350" cy="1449099"/>
          </a:xfrm>
        </p:spPr>
        <p:txBody>
          <a:bodyPr>
            <a:noAutofit/>
          </a:bodyPr>
          <a:lstStyle>
            <a:lvl1pPr algn="ctr">
              <a:defRPr lang="en-US" dirty="0" smtClean="0">
                <a:solidFill>
                  <a:schemeClr val="bg1"/>
                </a:solidFill>
              </a:defRPr>
            </a:lvl1pPr>
            <a:lvl2pPr algn="ctr">
              <a:buClr>
                <a:schemeClr val="bg1"/>
              </a:buClr>
              <a:defRPr lang="en-US" dirty="0">
                <a:solidFill>
                  <a:schemeClr val="bg1"/>
                </a:solidFill>
              </a:defRPr>
            </a:lvl2pPr>
            <a:lvl3pPr algn="ctr">
              <a:defRPr lang="en-US" dirty="0">
                <a:solidFill>
                  <a:schemeClr val="bg1"/>
                </a:solidFill>
              </a:defRPr>
            </a:lvl3pPr>
            <a:lvl4pPr algn="ctr">
              <a:spcBef>
                <a:spcPts val="0"/>
              </a:spcBef>
              <a:spcAft>
                <a:spcPts val="1000"/>
              </a:spcAft>
              <a:defRPr lang="en-US" sz="4000" dirty="0">
                <a:solidFill>
                  <a:schemeClr val="bg1"/>
                </a:solidFill>
                <a:latin typeface="+mj-lt"/>
              </a:defRPr>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2000" dirty="0" smtClean="0">
                <a:solidFill>
                  <a:schemeClr val="bg1"/>
                </a:solidFill>
              </a:defRPr>
            </a:lvl5pPr>
            <a:lvl6pPr algn="ctr">
              <a:defRPr lang="en-US" sz="1800" dirty="0" smtClean="0">
                <a:solidFill>
                  <a:schemeClr val="bg1"/>
                </a:solidFill>
              </a:defRPr>
            </a:lvl6pPr>
            <a:lvl7pPr algn="ctr">
              <a:buClr>
                <a:schemeClr val="bg1"/>
              </a:buClr>
              <a:defRPr sz="1400">
                <a:solidFill>
                  <a:schemeClr val="bg1"/>
                </a:solidFill>
              </a:defRPr>
            </a:lvl7pPr>
            <a:lvl8pPr algn="ctr">
              <a:defRPr sz="1600">
                <a:solidFill>
                  <a:schemeClr val="bg1"/>
                </a:solidFill>
              </a:defRPr>
            </a:lvl8pPr>
            <a:lvl9pPr algn="ctr">
              <a:defRPr>
                <a:solidFill>
                  <a:schemeClr val="bg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Footer Placeholder 1">
            <a:extLst>
              <a:ext uri="{FF2B5EF4-FFF2-40B4-BE49-F238E27FC236}">
                <a16:creationId xmlns:a16="http://schemas.microsoft.com/office/drawing/2014/main" id="{15ECF64B-955C-987F-E382-CA57D68E571B}"/>
              </a:ext>
            </a:extLst>
          </p:cNvPr>
          <p:cNvSpPr>
            <a:spLocks noGrp="1"/>
          </p:cNvSpPr>
          <p:nvPr>
            <p:ph type="ftr" sz="quarter" idx="26"/>
          </p:nvPr>
        </p:nvSpPr>
        <p:spPr/>
        <p:txBody>
          <a:bodyPr/>
          <a:lstStyle>
            <a:lvl1pPr>
              <a:defRPr>
                <a:solidFill>
                  <a:schemeClr val="bg1"/>
                </a:solidFill>
              </a:defRPr>
            </a:lvl1pPr>
          </a:lstStyle>
          <a:p>
            <a:endParaRPr lang="en-AU"/>
          </a:p>
        </p:txBody>
      </p:sp>
    </p:spTree>
    <p:extLst>
      <p:ext uri="{BB962C8B-B14F-4D97-AF65-F5344CB8AC3E}">
        <p14:creationId xmlns:p14="http://schemas.microsoft.com/office/powerpoint/2010/main" val="360118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2">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CBAA6F7B-C5C3-D7F1-FEF8-45CD89E1BF66}"/>
              </a:ext>
            </a:extLst>
          </p:cNvPr>
          <p:cNvSpPr/>
          <p:nvPr userDrawn="1"/>
        </p:nvSpPr>
        <p:spPr>
          <a:xfrm>
            <a:off x="7897787" y="329184"/>
            <a:ext cx="3958934" cy="6187440"/>
          </a:xfrm>
          <a:prstGeom prst="rect">
            <a:avLst/>
          </a:prstGeom>
          <a:gradFill flip="none" rotWithShape="1">
            <a:gsLst>
              <a:gs pos="99000">
                <a:schemeClr val="tx1"/>
              </a:gs>
              <a:gs pos="0">
                <a:schemeClr val="accent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38" name="Picture Placeholder 34">
            <a:extLst>
              <a:ext uri="{FF2B5EF4-FFF2-40B4-BE49-F238E27FC236}">
                <a16:creationId xmlns:a16="http://schemas.microsoft.com/office/drawing/2014/main" id="{ECA8CE1B-FA6B-FABF-C8F3-88166201C48F}"/>
              </a:ext>
            </a:extLst>
          </p:cNvPr>
          <p:cNvSpPr>
            <a:spLocks noGrp="1"/>
          </p:cNvSpPr>
          <p:nvPr>
            <p:ph type="pic" sz="quarter" idx="44"/>
          </p:nvPr>
        </p:nvSpPr>
        <p:spPr>
          <a:xfrm>
            <a:off x="7353300" y="651510"/>
            <a:ext cx="1104900" cy="1114077"/>
          </a:xfrm>
          <a:prstGeom prst="ellipse">
            <a:avLst/>
          </a:prstGeom>
          <a:solidFill>
            <a:schemeClr val="bg1">
              <a:lumMod val="95000"/>
            </a:schemeClr>
          </a:solidFill>
        </p:spPr>
        <p:txBody>
          <a:bodyPr bIns="0" anchor="ctr">
            <a:noAutofit/>
          </a:bodyPr>
          <a:lstStyle>
            <a:lvl1pPr algn="ctr">
              <a:defRPr sz="1400" b="0">
                <a:latin typeface="+mn-lt"/>
              </a:defRPr>
            </a:lvl1pPr>
          </a:lstStyle>
          <a:p>
            <a:r>
              <a:rPr lang="en-US"/>
              <a:t>Click icon to add picture</a:t>
            </a:r>
            <a:endParaRPr lang="en-AU"/>
          </a:p>
        </p:txBody>
      </p:sp>
      <p:sp>
        <p:nvSpPr>
          <p:cNvPr id="5" name="Picture Placeholder 34">
            <a:extLst>
              <a:ext uri="{FF2B5EF4-FFF2-40B4-BE49-F238E27FC236}">
                <a16:creationId xmlns:a16="http://schemas.microsoft.com/office/drawing/2014/main" id="{3BF786D1-EC73-176A-3992-3052E21E0CE0}"/>
              </a:ext>
            </a:extLst>
          </p:cNvPr>
          <p:cNvSpPr>
            <a:spLocks noGrp="1"/>
          </p:cNvSpPr>
          <p:nvPr>
            <p:ph type="pic" sz="quarter" idx="45"/>
          </p:nvPr>
        </p:nvSpPr>
        <p:spPr>
          <a:xfrm>
            <a:off x="7353300" y="2133069"/>
            <a:ext cx="1104900" cy="1114077"/>
          </a:xfrm>
          <a:prstGeom prst="ellipse">
            <a:avLst/>
          </a:prstGeom>
          <a:solidFill>
            <a:schemeClr val="bg1">
              <a:lumMod val="95000"/>
            </a:schemeClr>
          </a:solidFill>
        </p:spPr>
        <p:txBody>
          <a:bodyPr bIns="0" anchor="ctr">
            <a:noAutofit/>
          </a:bodyPr>
          <a:lstStyle>
            <a:lvl1pPr algn="ctr">
              <a:defRPr sz="1400" b="0">
                <a:latin typeface="+mn-lt"/>
              </a:defRPr>
            </a:lvl1pPr>
          </a:lstStyle>
          <a:p>
            <a:r>
              <a:rPr lang="en-US"/>
              <a:t>Click icon to add picture</a:t>
            </a:r>
            <a:endParaRPr lang="en-AU"/>
          </a:p>
        </p:txBody>
      </p:sp>
      <p:sp>
        <p:nvSpPr>
          <p:cNvPr id="12" name="Picture Placeholder 34">
            <a:extLst>
              <a:ext uri="{FF2B5EF4-FFF2-40B4-BE49-F238E27FC236}">
                <a16:creationId xmlns:a16="http://schemas.microsoft.com/office/drawing/2014/main" id="{D3E97CAA-7271-2BC7-4E24-EC0B797F8E91}"/>
              </a:ext>
            </a:extLst>
          </p:cNvPr>
          <p:cNvSpPr>
            <a:spLocks noGrp="1"/>
          </p:cNvSpPr>
          <p:nvPr>
            <p:ph type="pic" sz="quarter" idx="46"/>
          </p:nvPr>
        </p:nvSpPr>
        <p:spPr>
          <a:xfrm>
            <a:off x="7353300" y="3620219"/>
            <a:ext cx="1104900" cy="1114077"/>
          </a:xfrm>
          <a:prstGeom prst="ellipse">
            <a:avLst/>
          </a:prstGeom>
          <a:solidFill>
            <a:schemeClr val="bg1">
              <a:lumMod val="95000"/>
            </a:schemeClr>
          </a:solidFill>
        </p:spPr>
        <p:txBody>
          <a:bodyPr bIns="0" anchor="ctr">
            <a:noAutofit/>
          </a:bodyPr>
          <a:lstStyle>
            <a:lvl1pPr algn="ctr">
              <a:defRPr sz="1400" b="0">
                <a:latin typeface="+mn-lt"/>
              </a:defRPr>
            </a:lvl1pPr>
          </a:lstStyle>
          <a:p>
            <a:r>
              <a:rPr lang="en-US"/>
              <a:t>Click icon to add picture</a:t>
            </a:r>
            <a:endParaRPr lang="en-AU"/>
          </a:p>
        </p:txBody>
      </p:sp>
      <p:sp>
        <p:nvSpPr>
          <p:cNvPr id="13" name="Picture Placeholder 34">
            <a:extLst>
              <a:ext uri="{FF2B5EF4-FFF2-40B4-BE49-F238E27FC236}">
                <a16:creationId xmlns:a16="http://schemas.microsoft.com/office/drawing/2014/main" id="{2D83B9CA-96FB-D3EC-55B4-785276EC0493}"/>
              </a:ext>
            </a:extLst>
          </p:cNvPr>
          <p:cNvSpPr>
            <a:spLocks noGrp="1"/>
          </p:cNvSpPr>
          <p:nvPr>
            <p:ph type="pic" sz="quarter" idx="47"/>
          </p:nvPr>
        </p:nvSpPr>
        <p:spPr>
          <a:xfrm>
            <a:off x="7353300" y="5088564"/>
            <a:ext cx="1104900" cy="1114077"/>
          </a:xfrm>
          <a:prstGeom prst="ellipse">
            <a:avLst/>
          </a:prstGeom>
          <a:solidFill>
            <a:schemeClr val="bg1">
              <a:lumMod val="95000"/>
            </a:schemeClr>
          </a:solidFill>
        </p:spPr>
        <p:txBody>
          <a:bodyPr bIns="0" anchor="ctr">
            <a:noAutofit/>
          </a:bodyPr>
          <a:lstStyle>
            <a:lvl1pPr algn="ctr">
              <a:defRPr sz="1400" b="0">
                <a:latin typeface="+mn-lt"/>
              </a:defRPr>
            </a:lvl1pPr>
          </a:lstStyle>
          <a:p>
            <a:r>
              <a:rPr lang="en-US"/>
              <a:t>Click icon to add picture</a:t>
            </a:r>
            <a:endParaRPr lang="en-AU"/>
          </a:p>
        </p:txBody>
      </p:sp>
      <p:sp>
        <p:nvSpPr>
          <p:cNvPr id="55" name="Slide Number Placeholder 54">
            <a:extLst>
              <a:ext uri="{FF2B5EF4-FFF2-40B4-BE49-F238E27FC236}">
                <a16:creationId xmlns:a16="http://schemas.microsoft.com/office/drawing/2014/main" id="{788A4F24-176F-0A41-764C-1CB4C20354FB}"/>
              </a:ext>
            </a:extLst>
          </p:cNvPr>
          <p:cNvSpPr>
            <a:spLocks noGrp="1"/>
          </p:cNvSpPr>
          <p:nvPr>
            <p:ph type="sldNum" sz="quarter" idx="65"/>
          </p:nvPr>
        </p:nvSpPr>
        <p:spPr/>
        <p:txBody>
          <a:bodyPr/>
          <a:lstStyle/>
          <a:p>
            <a:fld id="{E917DE0E-AFB1-41FD-BC35-27DB61CA125F}" type="slidenum">
              <a:rPr lang="en-AU" smtClean="0"/>
              <a:pPr/>
              <a:t>‹#›</a:t>
            </a:fld>
            <a:endParaRPr lang="en-AU"/>
          </a:p>
        </p:txBody>
      </p:sp>
      <p:sp>
        <p:nvSpPr>
          <p:cNvPr id="24" name="Content Placeholder 3">
            <a:extLst>
              <a:ext uri="{FF2B5EF4-FFF2-40B4-BE49-F238E27FC236}">
                <a16:creationId xmlns:a16="http://schemas.microsoft.com/office/drawing/2014/main" id="{C85F5842-D33E-9B8B-399A-64018700EE39}"/>
              </a:ext>
            </a:extLst>
          </p:cNvPr>
          <p:cNvSpPr>
            <a:spLocks noGrp="1"/>
          </p:cNvSpPr>
          <p:nvPr>
            <p:ph sz="quarter" idx="25" hasCustomPrompt="1"/>
          </p:nvPr>
        </p:nvSpPr>
        <p:spPr>
          <a:xfrm>
            <a:off x="707717" y="1506856"/>
            <a:ext cx="5473453" cy="2791866"/>
          </a:xfrm>
        </p:spPr>
        <p:txBody>
          <a:bodyPr numCol="1" spcCol="0">
            <a:noAutofit/>
          </a:bodyPr>
          <a:lstStyle>
            <a:lvl1pPr>
              <a:spcBef>
                <a:spcPts val="1200"/>
              </a:spcBef>
              <a:spcAft>
                <a:spcPts val="600"/>
              </a:spcAft>
              <a:defRPr lang="en-US" cap="none" baseline="0" dirty="0" smtClean="0"/>
            </a:lvl1pPr>
            <a:lvl2pPr>
              <a:defRPr lang="en-US" dirty="0"/>
            </a:lvl2pPr>
            <a:lvl3pPr>
              <a:defRPr lang="en-US" dirty="0"/>
            </a:lvl3pPr>
            <a:lvl4pPr>
              <a:defRPr lang="en-US" sz="4000" cap="all" baseline="0" dirty="0"/>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dirty="0" smtClean="0"/>
            </a:lvl5pPr>
            <a:lvl6pPr>
              <a:defRPr lang="en-US" dirty="0" smtClean="0"/>
            </a:lvl6pPr>
            <a:lvl7pPr>
              <a:defRPr/>
            </a:lvl7pPr>
            <a:lvl8pPr>
              <a:defRPr/>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a:t>
            </a:r>
            <a:r>
              <a:rPr lang="en-AU" noProof="0" err="1"/>
              <a:t>levelc</a:t>
            </a:r>
            <a:endParaRPr lang="en-AU" noProof="0"/>
          </a:p>
        </p:txBody>
      </p:sp>
      <p:sp>
        <p:nvSpPr>
          <p:cNvPr id="2" name="Freeform 5">
            <a:extLst>
              <a:ext uri="{FF2B5EF4-FFF2-40B4-BE49-F238E27FC236}">
                <a16:creationId xmlns:a16="http://schemas.microsoft.com/office/drawing/2014/main" id="{7857F86B-3F18-CD05-B345-BB2D8CD599CD}"/>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3" name="Straight Connector 2">
            <a:extLst>
              <a:ext uri="{FF2B5EF4-FFF2-40B4-BE49-F238E27FC236}">
                <a16:creationId xmlns:a16="http://schemas.microsoft.com/office/drawing/2014/main" id="{9F20E4F3-FC1D-8561-10A6-16290AE3DE29}"/>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3">
            <a:extLst>
              <a:ext uri="{FF2B5EF4-FFF2-40B4-BE49-F238E27FC236}">
                <a16:creationId xmlns:a16="http://schemas.microsoft.com/office/drawing/2014/main" id="{14BDD21C-CCAF-6EA7-B751-6A559BC72EA6}"/>
              </a:ext>
            </a:extLst>
          </p:cNvPr>
          <p:cNvSpPr>
            <a:spLocks noGrp="1"/>
          </p:cNvSpPr>
          <p:nvPr>
            <p:ph sz="quarter" idx="70" hasCustomPrompt="1"/>
          </p:nvPr>
        </p:nvSpPr>
        <p:spPr>
          <a:xfrm>
            <a:off x="8654314" y="698303"/>
            <a:ext cx="2652687" cy="1138808"/>
          </a:xfrm>
        </p:spPr>
        <p:txBody>
          <a:bodyPr numCol="1" spcCol="0">
            <a:noAutofit/>
          </a:bodyPr>
          <a:lstStyle>
            <a:lvl1pPr algn="l">
              <a:spcBef>
                <a:spcPts val="0"/>
              </a:spcBef>
              <a:spcAft>
                <a:spcPts val="300"/>
              </a:spcAft>
              <a:defRPr lang="en-US" sz="1200" dirty="0" smtClean="0">
                <a:solidFill>
                  <a:schemeClr val="bg1"/>
                </a:solidFill>
                <a:latin typeface="+mn-lt"/>
              </a:defRPr>
            </a:lvl1pPr>
            <a:lvl2pPr algn="l">
              <a:spcBef>
                <a:spcPts val="0"/>
              </a:spcBef>
              <a:spcAft>
                <a:spcPts val="300"/>
              </a:spcAft>
              <a:buClr>
                <a:schemeClr val="bg1"/>
              </a:buClr>
              <a:defRPr lang="en-US" sz="1200" dirty="0">
                <a:solidFill>
                  <a:schemeClr val="bg1"/>
                </a:solidFill>
                <a:latin typeface="+mn-lt"/>
              </a:defRPr>
            </a:lvl2pPr>
            <a:lvl3pPr algn="l">
              <a:lnSpc>
                <a:spcPct val="100000"/>
              </a:lnSpc>
              <a:spcBef>
                <a:spcPts val="0"/>
              </a:spcBef>
              <a:spcAft>
                <a:spcPts val="300"/>
              </a:spcAft>
              <a:defRPr lang="en-US" sz="1100" b="0" dirty="0">
                <a:solidFill>
                  <a:schemeClr val="bg1"/>
                </a:solidFill>
                <a:latin typeface="+mn-lt"/>
              </a:defRPr>
            </a:lvl3pPr>
            <a:lvl4pPr algn="l">
              <a:lnSpc>
                <a:spcPct val="100000"/>
              </a:lnSpc>
              <a:spcBef>
                <a:spcPts val="0"/>
              </a:spcBef>
              <a:spcAft>
                <a:spcPts val="300"/>
              </a:spcAft>
              <a:defRPr lang="en-US" sz="1400" b="0" dirty="0">
                <a:solidFill>
                  <a:schemeClr val="bg1"/>
                </a:solidFill>
                <a:latin typeface="Bahnschrift" panose="020B0502040204020203" pitchFamily="34" charset="0"/>
              </a:defRPr>
            </a:lvl4pPr>
            <a:lvl5pPr marL="0" marR="0" indent="0" algn="l" defTabSz="1088776" rtl="0" eaLnBrk="1" fontAlgn="auto" latinLnBrk="0" hangingPunct="1">
              <a:lnSpc>
                <a:spcPct val="100000"/>
              </a:lnSpc>
              <a:spcBef>
                <a:spcPts val="0"/>
              </a:spcBef>
              <a:spcAft>
                <a:spcPts val="300"/>
              </a:spcAft>
              <a:buClrTx/>
              <a:buSzTx/>
              <a:buFont typeface="Arial" pitchFamily="34" charset="0"/>
              <a:buNone/>
              <a:tabLst/>
              <a:defRPr lang="en-US" sz="1200" dirty="0" smtClean="0">
                <a:solidFill>
                  <a:schemeClr val="bg1"/>
                </a:solidFill>
                <a:latin typeface="Bahnschrift" panose="020B0502040204020203" pitchFamily="34" charset="0"/>
              </a:defRPr>
            </a:lvl5pPr>
            <a:lvl6pPr algn="l">
              <a:spcBef>
                <a:spcPts val="0"/>
              </a:spcBef>
              <a:spcAft>
                <a:spcPts val="300"/>
              </a:spcAft>
              <a:defRPr lang="en-US" sz="1100" dirty="0" smtClean="0">
                <a:solidFill>
                  <a:schemeClr val="bg1"/>
                </a:solidFill>
              </a:defRPr>
            </a:lvl6pPr>
            <a:lvl7pPr algn="l">
              <a:spcBef>
                <a:spcPts val="0"/>
              </a:spcBef>
              <a:spcAft>
                <a:spcPts val="300"/>
              </a:spcAft>
              <a:buClr>
                <a:schemeClr val="bg1"/>
              </a:buClr>
              <a:defRPr sz="1200">
                <a:solidFill>
                  <a:schemeClr val="bg1"/>
                </a:solidFill>
              </a:defRPr>
            </a:lvl7pPr>
            <a:lvl8pPr algn="l">
              <a:spcBef>
                <a:spcPts val="0"/>
              </a:spcBef>
              <a:spcAft>
                <a:spcPts val="300"/>
              </a:spcAft>
              <a:defRPr sz="1100">
                <a:solidFill>
                  <a:schemeClr val="bg1"/>
                </a:solidFill>
              </a:defRPr>
            </a:lvl8pPr>
            <a:lvl9pPr algn="l">
              <a:spcBef>
                <a:spcPts val="0"/>
              </a:spcBef>
              <a:spcAft>
                <a:spcPts val="300"/>
              </a:spcAft>
              <a:defRPr sz="900">
                <a:solidFill>
                  <a:schemeClr val="bg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9" name="Content Placeholder 3">
            <a:extLst>
              <a:ext uri="{FF2B5EF4-FFF2-40B4-BE49-F238E27FC236}">
                <a16:creationId xmlns:a16="http://schemas.microsoft.com/office/drawing/2014/main" id="{0BB61A4E-FCB8-D628-F4E6-FCAE7442B25D}"/>
              </a:ext>
            </a:extLst>
          </p:cNvPr>
          <p:cNvSpPr>
            <a:spLocks noGrp="1"/>
          </p:cNvSpPr>
          <p:nvPr>
            <p:ph sz="quarter" idx="71" hasCustomPrompt="1"/>
          </p:nvPr>
        </p:nvSpPr>
        <p:spPr>
          <a:xfrm>
            <a:off x="8654314" y="2172990"/>
            <a:ext cx="2652687" cy="1138808"/>
          </a:xfrm>
        </p:spPr>
        <p:txBody>
          <a:bodyPr numCol="1" spcCol="0">
            <a:noAutofit/>
          </a:bodyPr>
          <a:lstStyle>
            <a:lvl1pPr algn="l">
              <a:spcBef>
                <a:spcPts val="0"/>
              </a:spcBef>
              <a:spcAft>
                <a:spcPts val="300"/>
              </a:spcAft>
              <a:defRPr lang="en-US" sz="1200" dirty="0" smtClean="0">
                <a:solidFill>
                  <a:schemeClr val="bg1"/>
                </a:solidFill>
                <a:latin typeface="+mn-lt"/>
              </a:defRPr>
            </a:lvl1pPr>
            <a:lvl2pPr algn="l">
              <a:spcBef>
                <a:spcPts val="0"/>
              </a:spcBef>
              <a:spcAft>
                <a:spcPts val="300"/>
              </a:spcAft>
              <a:buClr>
                <a:schemeClr val="bg1"/>
              </a:buClr>
              <a:defRPr lang="en-US" sz="1200" dirty="0">
                <a:solidFill>
                  <a:schemeClr val="bg1"/>
                </a:solidFill>
                <a:latin typeface="+mn-lt"/>
              </a:defRPr>
            </a:lvl2pPr>
            <a:lvl3pPr algn="l">
              <a:lnSpc>
                <a:spcPct val="100000"/>
              </a:lnSpc>
              <a:spcBef>
                <a:spcPts val="0"/>
              </a:spcBef>
              <a:spcAft>
                <a:spcPts val="300"/>
              </a:spcAft>
              <a:defRPr lang="en-US" sz="1100" b="0" dirty="0">
                <a:solidFill>
                  <a:schemeClr val="bg1"/>
                </a:solidFill>
                <a:latin typeface="+mn-lt"/>
              </a:defRPr>
            </a:lvl3pPr>
            <a:lvl4pPr algn="l">
              <a:lnSpc>
                <a:spcPct val="100000"/>
              </a:lnSpc>
              <a:spcBef>
                <a:spcPts val="0"/>
              </a:spcBef>
              <a:spcAft>
                <a:spcPts val="300"/>
              </a:spcAft>
              <a:defRPr lang="en-US" sz="1400" b="0" dirty="0">
                <a:solidFill>
                  <a:schemeClr val="bg1"/>
                </a:solidFill>
                <a:latin typeface="Bahnschrift" panose="020B0502040204020203" pitchFamily="34" charset="0"/>
              </a:defRPr>
            </a:lvl4pPr>
            <a:lvl5pPr marL="0" marR="0" indent="0" algn="l" defTabSz="1088776" rtl="0" eaLnBrk="1" fontAlgn="auto" latinLnBrk="0" hangingPunct="1">
              <a:lnSpc>
                <a:spcPct val="100000"/>
              </a:lnSpc>
              <a:spcBef>
                <a:spcPts val="0"/>
              </a:spcBef>
              <a:spcAft>
                <a:spcPts val="300"/>
              </a:spcAft>
              <a:buClrTx/>
              <a:buSzTx/>
              <a:buFont typeface="Arial" pitchFamily="34" charset="0"/>
              <a:buNone/>
              <a:tabLst/>
              <a:defRPr lang="en-US" sz="1200" dirty="0" smtClean="0">
                <a:solidFill>
                  <a:schemeClr val="bg1"/>
                </a:solidFill>
                <a:latin typeface="Bahnschrift" panose="020B0502040204020203" pitchFamily="34" charset="0"/>
              </a:defRPr>
            </a:lvl5pPr>
            <a:lvl6pPr algn="l">
              <a:spcBef>
                <a:spcPts val="0"/>
              </a:spcBef>
              <a:spcAft>
                <a:spcPts val="300"/>
              </a:spcAft>
              <a:defRPr lang="en-US" sz="1100" dirty="0" smtClean="0">
                <a:solidFill>
                  <a:schemeClr val="bg1"/>
                </a:solidFill>
              </a:defRPr>
            </a:lvl6pPr>
            <a:lvl7pPr algn="l">
              <a:spcBef>
                <a:spcPts val="0"/>
              </a:spcBef>
              <a:spcAft>
                <a:spcPts val="300"/>
              </a:spcAft>
              <a:buClr>
                <a:schemeClr val="bg1"/>
              </a:buClr>
              <a:defRPr sz="1200">
                <a:solidFill>
                  <a:schemeClr val="bg1"/>
                </a:solidFill>
              </a:defRPr>
            </a:lvl7pPr>
            <a:lvl8pPr algn="l">
              <a:spcBef>
                <a:spcPts val="0"/>
              </a:spcBef>
              <a:spcAft>
                <a:spcPts val="300"/>
              </a:spcAft>
              <a:defRPr sz="1100">
                <a:solidFill>
                  <a:schemeClr val="bg1"/>
                </a:solidFill>
              </a:defRPr>
            </a:lvl8pPr>
            <a:lvl9pPr algn="l">
              <a:spcBef>
                <a:spcPts val="0"/>
              </a:spcBef>
              <a:spcAft>
                <a:spcPts val="300"/>
              </a:spcAft>
              <a:defRPr sz="900">
                <a:solidFill>
                  <a:schemeClr val="bg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4" name="Content Placeholder 3">
            <a:extLst>
              <a:ext uri="{FF2B5EF4-FFF2-40B4-BE49-F238E27FC236}">
                <a16:creationId xmlns:a16="http://schemas.microsoft.com/office/drawing/2014/main" id="{290A5703-0C87-CFE1-D387-DA52EA07AF4D}"/>
              </a:ext>
            </a:extLst>
          </p:cNvPr>
          <p:cNvSpPr>
            <a:spLocks noGrp="1"/>
          </p:cNvSpPr>
          <p:nvPr>
            <p:ph sz="quarter" idx="72" hasCustomPrompt="1"/>
          </p:nvPr>
        </p:nvSpPr>
        <p:spPr>
          <a:xfrm>
            <a:off x="8654314" y="3647677"/>
            <a:ext cx="2652687" cy="1138808"/>
          </a:xfrm>
        </p:spPr>
        <p:txBody>
          <a:bodyPr numCol="1" spcCol="0">
            <a:noAutofit/>
          </a:bodyPr>
          <a:lstStyle>
            <a:lvl1pPr algn="l">
              <a:spcBef>
                <a:spcPts val="0"/>
              </a:spcBef>
              <a:spcAft>
                <a:spcPts val="300"/>
              </a:spcAft>
              <a:defRPr lang="en-US" sz="1200" dirty="0" smtClean="0">
                <a:solidFill>
                  <a:schemeClr val="bg1"/>
                </a:solidFill>
                <a:latin typeface="+mn-lt"/>
              </a:defRPr>
            </a:lvl1pPr>
            <a:lvl2pPr algn="l">
              <a:spcBef>
                <a:spcPts val="0"/>
              </a:spcBef>
              <a:spcAft>
                <a:spcPts val="300"/>
              </a:spcAft>
              <a:buClr>
                <a:schemeClr val="bg1"/>
              </a:buClr>
              <a:defRPr lang="en-US" sz="1200" dirty="0">
                <a:solidFill>
                  <a:schemeClr val="bg1"/>
                </a:solidFill>
                <a:latin typeface="+mn-lt"/>
              </a:defRPr>
            </a:lvl2pPr>
            <a:lvl3pPr algn="l">
              <a:lnSpc>
                <a:spcPct val="100000"/>
              </a:lnSpc>
              <a:spcBef>
                <a:spcPts val="0"/>
              </a:spcBef>
              <a:spcAft>
                <a:spcPts val="300"/>
              </a:spcAft>
              <a:defRPr lang="en-US" sz="1100" b="0" dirty="0">
                <a:solidFill>
                  <a:schemeClr val="bg1"/>
                </a:solidFill>
                <a:latin typeface="+mn-lt"/>
              </a:defRPr>
            </a:lvl3pPr>
            <a:lvl4pPr algn="l">
              <a:lnSpc>
                <a:spcPct val="100000"/>
              </a:lnSpc>
              <a:spcBef>
                <a:spcPts val="0"/>
              </a:spcBef>
              <a:spcAft>
                <a:spcPts val="300"/>
              </a:spcAft>
              <a:defRPr lang="en-US" sz="1400" b="0" dirty="0">
                <a:solidFill>
                  <a:schemeClr val="bg1"/>
                </a:solidFill>
                <a:latin typeface="Bahnschrift" panose="020B0502040204020203" pitchFamily="34" charset="0"/>
              </a:defRPr>
            </a:lvl4pPr>
            <a:lvl5pPr marL="0" marR="0" indent="0" algn="l" defTabSz="1088776" rtl="0" eaLnBrk="1" fontAlgn="auto" latinLnBrk="0" hangingPunct="1">
              <a:lnSpc>
                <a:spcPct val="100000"/>
              </a:lnSpc>
              <a:spcBef>
                <a:spcPts val="0"/>
              </a:spcBef>
              <a:spcAft>
                <a:spcPts val="300"/>
              </a:spcAft>
              <a:buClrTx/>
              <a:buSzTx/>
              <a:buFont typeface="Arial" pitchFamily="34" charset="0"/>
              <a:buNone/>
              <a:tabLst/>
              <a:defRPr lang="en-US" sz="1200" dirty="0" smtClean="0">
                <a:solidFill>
                  <a:schemeClr val="bg1"/>
                </a:solidFill>
                <a:latin typeface="Bahnschrift" panose="020B0502040204020203" pitchFamily="34" charset="0"/>
              </a:defRPr>
            </a:lvl5pPr>
            <a:lvl6pPr algn="l">
              <a:spcBef>
                <a:spcPts val="0"/>
              </a:spcBef>
              <a:spcAft>
                <a:spcPts val="300"/>
              </a:spcAft>
              <a:defRPr lang="en-US" sz="1100" dirty="0" smtClean="0">
                <a:solidFill>
                  <a:schemeClr val="bg1"/>
                </a:solidFill>
              </a:defRPr>
            </a:lvl6pPr>
            <a:lvl7pPr algn="l">
              <a:spcBef>
                <a:spcPts val="0"/>
              </a:spcBef>
              <a:spcAft>
                <a:spcPts val="300"/>
              </a:spcAft>
              <a:buClr>
                <a:schemeClr val="bg1"/>
              </a:buClr>
              <a:defRPr sz="1200">
                <a:solidFill>
                  <a:schemeClr val="bg1"/>
                </a:solidFill>
              </a:defRPr>
            </a:lvl7pPr>
            <a:lvl8pPr algn="l">
              <a:spcBef>
                <a:spcPts val="0"/>
              </a:spcBef>
              <a:spcAft>
                <a:spcPts val="300"/>
              </a:spcAft>
              <a:defRPr sz="1100">
                <a:solidFill>
                  <a:schemeClr val="bg1"/>
                </a:solidFill>
              </a:defRPr>
            </a:lvl8pPr>
            <a:lvl9pPr algn="l">
              <a:spcBef>
                <a:spcPts val="0"/>
              </a:spcBef>
              <a:spcAft>
                <a:spcPts val="300"/>
              </a:spcAft>
              <a:defRPr sz="900">
                <a:solidFill>
                  <a:schemeClr val="bg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Content Placeholder 3">
            <a:extLst>
              <a:ext uri="{FF2B5EF4-FFF2-40B4-BE49-F238E27FC236}">
                <a16:creationId xmlns:a16="http://schemas.microsoft.com/office/drawing/2014/main" id="{4461449F-C1D8-7CF8-B171-932FD0FCC763}"/>
              </a:ext>
            </a:extLst>
          </p:cNvPr>
          <p:cNvSpPr>
            <a:spLocks noGrp="1"/>
          </p:cNvSpPr>
          <p:nvPr>
            <p:ph sz="quarter" idx="73" hasCustomPrompt="1"/>
          </p:nvPr>
        </p:nvSpPr>
        <p:spPr>
          <a:xfrm>
            <a:off x="8654314" y="5122364"/>
            <a:ext cx="2652687" cy="1138808"/>
          </a:xfrm>
        </p:spPr>
        <p:txBody>
          <a:bodyPr numCol="1" spcCol="0">
            <a:noAutofit/>
          </a:bodyPr>
          <a:lstStyle>
            <a:lvl1pPr algn="l">
              <a:spcBef>
                <a:spcPts val="0"/>
              </a:spcBef>
              <a:spcAft>
                <a:spcPts val="300"/>
              </a:spcAft>
              <a:defRPr lang="en-US" sz="1200" dirty="0" smtClean="0">
                <a:solidFill>
                  <a:schemeClr val="bg1"/>
                </a:solidFill>
                <a:latin typeface="+mn-lt"/>
              </a:defRPr>
            </a:lvl1pPr>
            <a:lvl2pPr algn="l">
              <a:spcBef>
                <a:spcPts val="0"/>
              </a:spcBef>
              <a:spcAft>
                <a:spcPts val="300"/>
              </a:spcAft>
              <a:buClr>
                <a:schemeClr val="bg1"/>
              </a:buClr>
              <a:defRPr lang="en-US" sz="1200" dirty="0">
                <a:solidFill>
                  <a:schemeClr val="bg1"/>
                </a:solidFill>
                <a:latin typeface="+mn-lt"/>
              </a:defRPr>
            </a:lvl2pPr>
            <a:lvl3pPr algn="l">
              <a:lnSpc>
                <a:spcPct val="100000"/>
              </a:lnSpc>
              <a:spcBef>
                <a:spcPts val="0"/>
              </a:spcBef>
              <a:spcAft>
                <a:spcPts val="300"/>
              </a:spcAft>
              <a:defRPr lang="en-US" sz="1100" b="0" dirty="0">
                <a:solidFill>
                  <a:schemeClr val="bg1"/>
                </a:solidFill>
                <a:latin typeface="+mn-lt"/>
              </a:defRPr>
            </a:lvl3pPr>
            <a:lvl4pPr algn="l">
              <a:lnSpc>
                <a:spcPct val="100000"/>
              </a:lnSpc>
              <a:spcBef>
                <a:spcPts val="0"/>
              </a:spcBef>
              <a:spcAft>
                <a:spcPts val="300"/>
              </a:spcAft>
              <a:defRPr lang="en-US" sz="1400" b="0" dirty="0">
                <a:solidFill>
                  <a:schemeClr val="bg1"/>
                </a:solidFill>
                <a:latin typeface="Bahnschrift" panose="020B0502040204020203" pitchFamily="34" charset="0"/>
              </a:defRPr>
            </a:lvl4pPr>
            <a:lvl5pPr marL="0" marR="0" indent="0" algn="l" defTabSz="1088776" rtl="0" eaLnBrk="1" fontAlgn="auto" latinLnBrk="0" hangingPunct="1">
              <a:lnSpc>
                <a:spcPct val="100000"/>
              </a:lnSpc>
              <a:spcBef>
                <a:spcPts val="0"/>
              </a:spcBef>
              <a:spcAft>
                <a:spcPts val="300"/>
              </a:spcAft>
              <a:buClrTx/>
              <a:buSzTx/>
              <a:buFont typeface="Arial" pitchFamily="34" charset="0"/>
              <a:buNone/>
              <a:tabLst/>
              <a:defRPr lang="en-US" sz="1200" dirty="0" smtClean="0">
                <a:solidFill>
                  <a:schemeClr val="bg1"/>
                </a:solidFill>
                <a:latin typeface="Bahnschrift" panose="020B0502040204020203" pitchFamily="34" charset="0"/>
              </a:defRPr>
            </a:lvl5pPr>
            <a:lvl6pPr algn="l">
              <a:spcBef>
                <a:spcPts val="0"/>
              </a:spcBef>
              <a:spcAft>
                <a:spcPts val="300"/>
              </a:spcAft>
              <a:defRPr lang="en-US" sz="1100" dirty="0" smtClean="0">
                <a:solidFill>
                  <a:schemeClr val="bg1"/>
                </a:solidFill>
              </a:defRPr>
            </a:lvl6pPr>
            <a:lvl7pPr algn="l">
              <a:spcBef>
                <a:spcPts val="0"/>
              </a:spcBef>
              <a:spcAft>
                <a:spcPts val="300"/>
              </a:spcAft>
              <a:buClr>
                <a:schemeClr val="bg1"/>
              </a:buClr>
              <a:defRPr sz="1200">
                <a:solidFill>
                  <a:schemeClr val="bg1"/>
                </a:solidFill>
              </a:defRPr>
            </a:lvl7pPr>
            <a:lvl8pPr algn="l">
              <a:spcBef>
                <a:spcPts val="0"/>
              </a:spcBef>
              <a:spcAft>
                <a:spcPts val="300"/>
              </a:spcAft>
              <a:defRPr sz="1100">
                <a:solidFill>
                  <a:schemeClr val="bg1"/>
                </a:solidFill>
              </a:defRPr>
            </a:lvl8pPr>
            <a:lvl9pPr algn="l">
              <a:spcBef>
                <a:spcPts val="0"/>
              </a:spcBef>
              <a:spcAft>
                <a:spcPts val="300"/>
              </a:spcAft>
              <a:defRPr sz="900">
                <a:solidFill>
                  <a:schemeClr val="bg1"/>
                </a:solidFill>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4" name="Footer Placeholder 3">
            <a:extLst>
              <a:ext uri="{FF2B5EF4-FFF2-40B4-BE49-F238E27FC236}">
                <a16:creationId xmlns:a16="http://schemas.microsoft.com/office/drawing/2014/main" id="{B1E4607A-2175-6E68-16AD-57A7950B227A}"/>
              </a:ext>
            </a:extLst>
          </p:cNvPr>
          <p:cNvSpPr>
            <a:spLocks noGrp="1"/>
          </p:cNvSpPr>
          <p:nvPr>
            <p:ph type="ftr" sz="quarter" idx="74"/>
          </p:nvPr>
        </p:nvSpPr>
        <p:spPr/>
        <p:txBody>
          <a:bodyPr/>
          <a:lstStyle/>
          <a:p>
            <a:endParaRPr lang="en-AU"/>
          </a:p>
        </p:txBody>
      </p:sp>
    </p:spTree>
    <p:extLst>
      <p:ext uri="{BB962C8B-B14F-4D97-AF65-F5344CB8AC3E}">
        <p14:creationId xmlns:p14="http://schemas.microsoft.com/office/powerpoint/2010/main" val="1441416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5" name="Content Placeholder 3">
            <a:extLst>
              <a:ext uri="{FF2B5EF4-FFF2-40B4-BE49-F238E27FC236}">
                <a16:creationId xmlns:a16="http://schemas.microsoft.com/office/drawing/2014/main" id="{F784CC94-C723-35B0-F564-B5FF124968BC}"/>
              </a:ext>
            </a:extLst>
          </p:cNvPr>
          <p:cNvSpPr>
            <a:spLocks noGrp="1"/>
          </p:cNvSpPr>
          <p:nvPr>
            <p:ph sz="quarter" idx="25" hasCustomPrompt="1"/>
          </p:nvPr>
        </p:nvSpPr>
        <p:spPr>
          <a:xfrm>
            <a:off x="696914" y="549275"/>
            <a:ext cx="10801350" cy="1042988"/>
          </a:xfrm>
        </p:spPr>
        <p:txBody>
          <a:bodyPr numCol="1" spcCol="0">
            <a:noAutofit/>
          </a:bodyPr>
          <a:lstStyle>
            <a:lvl1pPr algn="ctr">
              <a:defRPr lang="en-US" cap="none" baseline="0" dirty="0" smtClean="0"/>
            </a:lvl1pPr>
            <a:lvl2pPr algn="ctr">
              <a:defRPr lang="en-US" dirty="0"/>
            </a:lvl2pPr>
            <a:lvl3pPr algn="ctr">
              <a:defRPr lang="en-US" dirty="0"/>
            </a:lvl3pPr>
            <a:lvl4pPr algn="ctr">
              <a:defRPr lang="en-US" sz="4000" cap="all" baseline="0" dirty="0"/>
            </a:lvl4pPr>
            <a:lvl5pPr marL="0" marR="0" indent="0" algn="ctr" defTabSz="1088776" rtl="0" eaLnBrk="1" fontAlgn="auto" latinLnBrk="0" hangingPunct="1">
              <a:lnSpc>
                <a:spcPct val="100000"/>
              </a:lnSpc>
              <a:spcBef>
                <a:spcPts val="1200"/>
              </a:spcBef>
              <a:spcAft>
                <a:spcPts val="600"/>
              </a:spcAft>
              <a:buClrTx/>
              <a:buSzTx/>
              <a:buFont typeface="Arial" pitchFamily="34" charset="0"/>
              <a:buNone/>
              <a:tabLst/>
              <a:defRPr lang="en-US" sz="1800" dirty="0" smtClean="0">
                <a:latin typeface="Bahnschrift" panose="020B0502040204020203" pitchFamily="34" charset="0"/>
              </a:defRPr>
            </a:lvl5pPr>
            <a:lvl6pPr algn="ctr">
              <a:defRPr lang="en-US" dirty="0" smtClean="0"/>
            </a:lvl6pPr>
            <a:lvl7pPr algn="ctr">
              <a:defRPr/>
            </a:lvl7pPr>
            <a:lvl8pPr algn="ctr">
              <a:defRPr/>
            </a:lvl8pPr>
            <a:lvl9pPr algn="ct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a:t>
            </a:r>
            <a:r>
              <a:rPr lang="en-AU" noProof="0" err="1"/>
              <a:t>levelc</a:t>
            </a:r>
            <a:endParaRPr lang="en-AU" noProof="0"/>
          </a:p>
        </p:txBody>
      </p:sp>
      <p:sp>
        <p:nvSpPr>
          <p:cNvPr id="33" name="Rectangle 32">
            <a:extLst>
              <a:ext uri="{FF2B5EF4-FFF2-40B4-BE49-F238E27FC236}">
                <a16:creationId xmlns:a16="http://schemas.microsoft.com/office/drawing/2014/main" id="{CBAA6F7B-C5C3-D7F1-FEF8-45CD89E1BF66}"/>
              </a:ext>
            </a:extLst>
          </p:cNvPr>
          <p:cNvSpPr/>
          <p:nvPr userDrawn="1"/>
        </p:nvSpPr>
        <p:spPr>
          <a:xfrm>
            <a:off x="0" y="2349662"/>
            <a:ext cx="12195174" cy="2013994"/>
          </a:xfrm>
          <a:prstGeom prst="rect">
            <a:avLst/>
          </a:prstGeom>
          <a:gradFill flip="none" rotWithShape="1">
            <a:gsLst>
              <a:gs pos="99000">
                <a:schemeClr val="tx1"/>
              </a:gs>
              <a:gs pos="0">
                <a:schemeClr val="accent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a:p>
        </p:txBody>
      </p:sp>
      <p:sp>
        <p:nvSpPr>
          <p:cNvPr id="35" name="Picture Placeholder 34">
            <a:extLst>
              <a:ext uri="{FF2B5EF4-FFF2-40B4-BE49-F238E27FC236}">
                <a16:creationId xmlns:a16="http://schemas.microsoft.com/office/drawing/2014/main" id="{65C6EE75-3D73-7D79-2D6F-3DB3A13C04A5}"/>
              </a:ext>
            </a:extLst>
          </p:cNvPr>
          <p:cNvSpPr>
            <a:spLocks noGrp="1"/>
          </p:cNvSpPr>
          <p:nvPr>
            <p:ph type="pic" sz="quarter" idx="41"/>
          </p:nvPr>
        </p:nvSpPr>
        <p:spPr>
          <a:xfrm>
            <a:off x="1399540" y="2717774"/>
            <a:ext cx="1277621" cy="1288232"/>
          </a:xfrm>
          <a:prstGeom prst="ellipse">
            <a:avLst/>
          </a:prstGeom>
          <a:solidFill>
            <a:schemeClr val="bg1">
              <a:lumMod val="95000"/>
            </a:schemeClr>
          </a:solidFill>
        </p:spPr>
        <p:txBody>
          <a:bodyPr bIns="0" anchor="ctr">
            <a:noAutofit/>
          </a:bodyPr>
          <a:lstStyle>
            <a:lvl1pPr algn="ctr">
              <a:defRPr sz="1400" b="0">
                <a:latin typeface="+mn-lt"/>
              </a:defRPr>
            </a:lvl1pPr>
          </a:lstStyle>
          <a:p>
            <a:r>
              <a:rPr lang="en-US"/>
              <a:t>Click icon to add picture</a:t>
            </a:r>
            <a:endParaRPr lang="en-AU"/>
          </a:p>
        </p:txBody>
      </p:sp>
      <p:sp>
        <p:nvSpPr>
          <p:cNvPr id="36" name="Picture Placeholder 34">
            <a:extLst>
              <a:ext uri="{FF2B5EF4-FFF2-40B4-BE49-F238E27FC236}">
                <a16:creationId xmlns:a16="http://schemas.microsoft.com/office/drawing/2014/main" id="{EF2370A7-520C-1BCB-5FD7-7ABCD4323ACE}"/>
              </a:ext>
            </a:extLst>
          </p:cNvPr>
          <p:cNvSpPr>
            <a:spLocks noGrp="1"/>
          </p:cNvSpPr>
          <p:nvPr>
            <p:ph type="pic" sz="quarter" idx="42"/>
          </p:nvPr>
        </p:nvSpPr>
        <p:spPr>
          <a:xfrm>
            <a:off x="4098128" y="2717774"/>
            <a:ext cx="1277621" cy="1288232"/>
          </a:xfrm>
          <a:prstGeom prst="ellipse">
            <a:avLst/>
          </a:prstGeom>
          <a:solidFill>
            <a:schemeClr val="bg1">
              <a:lumMod val="95000"/>
            </a:schemeClr>
          </a:solidFill>
        </p:spPr>
        <p:txBody>
          <a:bodyPr bIns="0" anchor="ctr">
            <a:noAutofit/>
          </a:bodyPr>
          <a:lstStyle>
            <a:lvl1pPr algn="ctr">
              <a:defRPr sz="1400" b="0">
                <a:latin typeface="+mn-lt"/>
              </a:defRPr>
            </a:lvl1pPr>
          </a:lstStyle>
          <a:p>
            <a:r>
              <a:rPr lang="en-US"/>
              <a:t>Click icon to add picture</a:t>
            </a:r>
            <a:endParaRPr lang="en-AU"/>
          </a:p>
        </p:txBody>
      </p:sp>
      <p:sp>
        <p:nvSpPr>
          <p:cNvPr id="37" name="Picture Placeholder 34">
            <a:extLst>
              <a:ext uri="{FF2B5EF4-FFF2-40B4-BE49-F238E27FC236}">
                <a16:creationId xmlns:a16="http://schemas.microsoft.com/office/drawing/2014/main" id="{FAC2AEB1-0919-551E-5588-7A37DDB609DD}"/>
              </a:ext>
            </a:extLst>
          </p:cNvPr>
          <p:cNvSpPr>
            <a:spLocks noGrp="1"/>
          </p:cNvSpPr>
          <p:nvPr>
            <p:ph type="pic" sz="quarter" idx="43"/>
          </p:nvPr>
        </p:nvSpPr>
        <p:spPr>
          <a:xfrm>
            <a:off x="6796716" y="2717774"/>
            <a:ext cx="1277621" cy="1288232"/>
          </a:xfrm>
          <a:prstGeom prst="ellipse">
            <a:avLst/>
          </a:prstGeom>
          <a:solidFill>
            <a:schemeClr val="bg1">
              <a:lumMod val="95000"/>
            </a:schemeClr>
          </a:solidFill>
        </p:spPr>
        <p:txBody>
          <a:bodyPr bIns="0" anchor="ctr">
            <a:noAutofit/>
          </a:bodyPr>
          <a:lstStyle>
            <a:lvl1pPr algn="ctr">
              <a:defRPr sz="1400" b="0">
                <a:latin typeface="+mn-lt"/>
              </a:defRPr>
            </a:lvl1pPr>
          </a:lstStyle>
          <a:p>
            <a:r>
              <a:rPr lang="en-US"/>
              <a:t>Click icon to add picture</a:t>
            </a:r>
            <a:endParaRPr lang="en-AU"/>
          </a:p>
        </p:txBody>
      </p:sp>
      <p:sp>
        <p:nvSpPr>
          <p:cNvPr id="38" name="Picture Placeholder 34">
            <a:extLst>
              <a:ext uri="{FF2B5EF4-FFF2-40B4-BE49-F238E27FC236}">
                <a16:creationId xmlns:a16="http://schemas.microsoft.com/office/drawing/2014/main" id="{ECA8CE1B-FA6B-FABF-C8F3-88166201C48F}"/>
              </a:ext>
            </a:extLst>
          </p:cNvPr>
          <p:cNvSpPr>
            <a:spLocks noGrp="1"/>
          </p:cNvSpPr>
          <p:nvPr>
            <p:ph type="pic" sz="quarter" idx="44"/>
          </p:nvPr>
        </p:nvSpPr>
        <p:spPr>
          <a:xfrm>
            <a:off x="9488088" y="2717774"/>
            <a:ext cx="1277621" cy="1288232"/>
          </a:xfrm>
          <a:prstGeom prst="ellipse">
            <a:avLst/>
          </a:prstGeom>
          <a:solidFill>
            <a:schemeClr val="bg1">
              <a:lumMod val="95000"/>
            </a:schemeClr>
          </a:solidFill>
        </p:spPr>
        <p:txBody>
          <a:bodyPr bIns="0" anchor="ctr">
            <a:noAutofit/>
          </a:bodyPr>
          <a:lstStyle>
            <a:lvl1pPr algn="ctr">
              <a:defRPr sz="1400" b="0">
                <a:latin typeface="+mn-lt"/>
              </a:defRPr>
            </a:lvl1pPr>
          </a:lstStyle>
          <a:p>
            <a:r>
              <a:rPr lang="en-US"/>
              <a:t>Click icon to add picture</a:t>
            </a:r>
            <a:endParaRPr lang="en-AU"/>
          </a:p>
        </p:txBody>
      </p:sp>
      <p:sp>
        <p:nvSpPr>
          <p:cNvPr id="42" name="Slide Number Placeholder 41">
            <a:extLst>
              <a:ext uri="{FF2B5EF4-FFF2-40B4-BE49-F238E27FC236}">
                <a16:creationId xmlns:a16="http://schemas.microsoft.com/office/drawing/2014/main" id="{3EE7C6CC-9C82-DE2F-C5D5-554138EC46A2}"/>
              </a:ext>
            </a:extLst>
          </p:cNvPr>
          <p:cNvSpPr>
            <a:spLocks noGrp="1"/>
          </p:cNvSpPr>
          <p:nvPr>
            <p:ph type="sldNum" sz="quarter" idx="46"/>
          </p:nvPr>
        </p:nvSpPr>
        <p:spPr/>
        <p:txBody>
          <a:bodyPr/>
          <a:lstStyle/>
          <a:p>
            <a:fld id="{E917DE0E-AFB1-41FD-BC35-27DB61CA125F}" type="slidenum">
              <a:rPr lang="en-AU" smtClean="0"/>
              <a:pPr/>
              <a:t>‹#›</a:t>
            </a:fld>
            <a:endParaRPr lang="en-AU"/>
          </a:p>
        </p:txBody>
      </p:sp>
      <p:sp>
        <p:nvSpPr>
          <p:cNvPr id="12" name="Content Placeholder 3">
            <a:extLst>
              <a:ext uri="{FF2B5EF4-FFF2-40B4-BE49-F238E27FC236}">
                <a16:creationId xmlns:a16="http://schemas.microsoft.com/office/drawing/2014/main" id="{2840EE42-4890-7A44-ED04-2B7B518F2F85}"/>
              </a:ext>
            </a:extLst>
          </p:cNvPr>
          <p:cNvSpPr>
            <a:spLocks noGrp="1"/>
          </p:cNvSpPr>
          <p:nvPr>
            <p:ph sz="quarter" idx="47" hasCustomPrompt="1"/>
          </p:nvPr>
        </p:nvSpPr>
        <p:spPr>
          <a:xfrm>
            <a:off x="724645" y="4667250"/>
            <a:ext cx="2652687" cy="1138808"/>
          </a:xfrm>
        </p:spPr>
        <p:txBody>
          <a:bodyPr numCol="1" spcCol="0">
            <a:noAutofit/>
          </a:bodyPr>
          <a:lstStyle>
            <a:lvl1pPr algn="ctr">
              <a:spcBef>
                <a:spcPts val="0"/>
              </a:spcBef>
              <a:spcAft>
                <a:spcPts val="300"/>
              </a:spcAft>
              <a:defRPr lang="en-US" sz="1200" dirty="0" smtClean="0">
                <a:latin typeface="+mn-lt"/>
              </a:defRPr>
            </a:lvl1pPr>
            <a:lvl2pPr algn="ctr">
              <a:spcBef>
                <a:spcPts val="0"/>
              </a:spcBef>
              <a:spcAft>
                <a:spcPts val="300"/>
              </a:spcAft>
              <a:defRPr lang="en-US" sz="1200" dirty="0">
                <a:latin typeface="+mn-lt"/>
              </a:defRPr>
            </a:lvl2pPr>
            <a:lvl3pPr algn="ctr">
              <a:lnSpc>
                <a:spcPct val="100000"/>
              </a:lnSpc>
              <a:spcBef>
                <a:spcPts val="0"/>
              </a:spcBef>
              <a:spcAft>
                <a:spcPts val="300"/>
              </a:spcAft>
              <a:defRPr lang="en-US" sz="1100" b="0" dirty="0">
                <a:latin typeface="+mn-lt"/>
              </a:defRPr>
            </a:lvl3pPr>
            <a:lvl4pPr algn="ctr">
              <a:lnSpc>
                <a:spcPct val="100000"/>
              </a:lnSpc>
              <a:spcBef>
                <a:spcPts val="0"/>
              </a:spcBef>
              <a:spcAft>
                <a:spcPts val="300"/>
              </a:spcAft>
              <a:defRPr lang="en-US" sz="1400" b="0" dirty="0">
                <a:latin typeface="Bahnschrift" panose="020B0502040204020203" pitchFamily="34" charset="0"/>
              </a:defRPr>
            </a:lvl4pPr>
            <a:lvl5pPr marL="0" marR="0" indent="0" algn="ctr" defTabSz="1088776" rtl="0" eaLnBrk="1" fontAlgn="auto" latinLnBrk="0" hangingPunct="1">
              <a:lnSpc>
                <a:spcPct val="100000"/>
              </a:lnSpc>
              <a:spcBef>
                <a:spcPts val="0"/>
              </a:spcBef>
              <a:spcAft>
                <a:spcPts val="300"/>
              </a:spcAft>
              <a:buClrTx/>
              <a:buSzTx/>
              <a:buFont typeface="Arial" pitchFamily="34" charset="0"/>
              <a:buNone/>
              <a:tabLst/>
              <a:defRPr lang="en-US" sz="1200" dirty="0" smtClean="0">
                <a:latin typeface="Bahnschrift" panose="020B0502040204020203" pitchFamily="34" charset="0"/>
              </a:defRPr>
            </a:lvl5pPr>
            <a:lvl6pPr algn="ctr">
              <a:spcBef>
                <a:spcPts val="0"/>
              </a:spcBef>
              <a:spcAft>
                <a:spcPts val="300"/>
              </a:spcAft>
              <a:defRPr lang="en-US" sz="1100" dirty="0" smtClean="0"/>
            </a:lvl6pPr>
            <a:lvl7pPr algn="ctr">
              <a:spcBef>
                <a:spcPts val="0"/>
              </a:spcBef>
              <a:spcAft>
                <a:spcPts val="300"/>
              </a:spcAft>
              <a:defRPr sz="1200"/>
            </a:lvl7pPr>
            <a:lvl8pPr algn="ctr">
              <a:spcBef>
                <a:spcPts val="0"/>
              </a:spcBef>
              <a:spcAft>
                <a:spcPts val="300"/>
              </a:spcAft>
              <a:defRPr sz="1100"/>
            </a:lvl8pPr>
            <a:lvl9pPr algn="ctr">
              <a:spcBef>
                <a:spcPts val="0"/>
              </a:spcBef>
              <a:spcAft>
                <a:spcPts val="300"/>
              </a:spcAft>
              <a:defRPr sz="900"/>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Freeform 5">
            <a:extLst>
              <a:ext uri="{FF2B5EF4-FFF2-40B4-BE49-F238E27FC236}">
                <a16:creationId xmlns:a16="http://schemas.microsoft.com/office/drawing/2014/main" id="{E70BCAE7-CA5C-4EE1-2E08-FAB0739ED8C4}"/>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3" name="Straight Connector 2">
            <a:extLst>
              <a:ext uri="{FF2B5EF4-FFF2-40B4-BE49-F238E27FC236}">
                <a16:creationId xmlns:a16="http://schemas.microsoft.com/office/drawing/2014/main" id="{F980D338-73FE-E05B-B900-6EC04E05140B}"/>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626CF498-AFE0-7310-A0BF-4DAB2603CB5D}"/>
              </a:ext>
            </a:extLst>
          </p:cNvPr>
          <p:cNvSpPr>
            <a:spLocks noGrp="1"/>
          </p:cNvSpPr>
          <p:nvPr>
            <p:ph sz="quarter" idx="51" hasCustomPrompt="1"/>
          </p:nvPr>
        </p:nvSpPr>
        <p:spPr>
          <a:xfrm>
            <a:off x="3423635" y="4667250"/>
            <a:ext cx="2652687" cy="1138808"/>
          </a:xfrm>
        </p:spPr>
        <p:txBody>
          <a:bodyPr numCol="1" spcCol="0">
            <a:noAutofit/>
          </a:bodyPr>
          <a:lstStyle>
            <a:lvl1pPr algn="ctr">
              <a:spcBef>
                <a:spcPts val="0"/>
              </a:spcBef>
              <a:spcAft>
                <a:spcPts val="300"/>
              </a:spcAft>
              <a:defRPr lang="en-US" sz="1200" dirty="0" smtClean="0">
                <a:latin typeface="+mn-lt"/>
              </a:defRPr>
            </a:lvl1pPr>
            <a:lvl2pPr algn="ctr">
              <a:spcBef>
                <a:spcPts val="0"/>
              </a:spcBef>
              <a:spcAft>
                <a:spcPts val="300"/>
              </a:spcAft>
              <a:defRPr lang="en-US" sz="1200" dirty="0">
                <a:latin typeface="+mn-lt"/>
              </a:defRPr>
            </a:lvl2pPr>
            <a:lvl3pPr algn="ctr">
              <a:lnSpc>
                <a:spcPct val="100000"/>
              </a:lnSpc>
              <a:spcBef>
                <a:spcPts val="0"/>
              </a:spcBef>
              <a:spcAft>
                <a:spcPts val="300"/>
              </a:spcAft>
              <a:defRPr lang="en-US" sz="1100" b="0" dirty="0">
                <a:latin typeface="+mn-lt"/>
              </a:defRPr>
            </a:lvl3pPr>
            <a:lvl4pPr algn="ctr">
              <a:lnSpc>
                <a:spcPct val="100000"/>
              </a:lnSpc>
              <a:spcBef>
                <a:spcPts val="0"/>
              </a:spcBef>
              <a:spcAft>
                <a:spcPts val="300"/>
              </a:spcAft>
              <a:defRPr lang="en-US" sz="1400" b="0" dirty="0">
                <a:latin typeface="Bahnschrift" panose="020B0502040204020203" pitchFamily="34" charset="0"/>
              </a:defRPr>
            </a:lvl4pPr>
            <a:lvl5pPr marL="0" marR="0" indent="0" algn="ctr" defTabSz="1088776" rtl="0" eaLnBrk="1" fontAlgn="auto" latinLnBrk="0" hangingPunct="1">
              <a:lnSpc>
                <a:spcPct val="100000"/>
              </a:lnSpc>
              <a:spcBef>
                <a:spcPts val="0"/>
              </a:spcBef>
              <a:spcAft>
                <a:spcPts val="300"/>
              </a:spcAft>
              <a:buClrTx/>
              <a:buSzTx/>
              <a:buFont typeface="Arial" pitchFamily="34" charset="0"/>
              <a:buNone/>
              <a:tabLst/>
              <a:defRPr lang="en-US" sz="1200" dirty="0" smtClean="0">
                <a:latin typeface="Bahnschrift" panose="020B0502040204020203" pitchFamily="34" charset="0"/>
              </a:defRPr>
            </a:lvl5pPr>
            <a:lvl6pPr algn="ctr">
              <a:spcBef>
                <a:spcPts val="0"/>
              </a:spcBef>
              <a:spcAft>
                <a:spcPts val="300"/>
              </a:spcAft>
              <a:defRPr lang="en-US" sz="1100" dirty="0" smtClean="0"/>
            </a:lvl6pPr>
            <a:lvl7pPr algn="ctr">
              <a:spcBef>
                <a:spcPts val="0"/>
              </a:spcBef>
              <a:spcAft>
                <a:spcPts val="300"/>
              </a:spcAft>
              <a:defRPr sz="1200"/>
            </a:lvl7pPr>
            <a:lvl8pPr algn="ctr">
              <a:spcBef>
                <a:spcPts val="0"/>
              </a:spcBef>
              <a:spcAft>
                <a:spcPts val="300"/>
              </a:spcAft>
              <a:defRPr sz="1100"/>
            </a:lvl8pPr>
            <a:lvl9pPr algn="ctr">
              <a:spcBef>
                <a:spcPts val="0"/>
              </a:spcBef>
              <a:spcAft>
                <a:spcPts val="300"/>
              </a:spcAft>
              <a:defRPr sz="900"/>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7" name="Content Placeholder 3">
            <a:extLst>
              <a:ext uri="{FF2B5EF4-FFF2-40B4-BE49-F238E27FC236}">
                <a16:creationId xmlns:a16="http://schemas.microsoft.com/office/drawing/2014/main" id="{29780CCA-0F43-CFEE-8E8A-ADB4604A06B8}"/>
              </a:ext>
            </a:extLst>
          </p:cNvPr>
          <p:cNvSpPr>
            <a:spLocks noGrp="1"/>
          </p:cNvSpPr>
          <p:nvPr>
            <p:ph sz="quarter" idx="52" hasCustomPrompt="1"/>
          </p:nvPr>
        </p:nvSpPr>
        <p:spPr>
          <a:xfrm>
            <a:off x="6118853" y="4667250"/>
            <a:ext cx="2652687" cy="1138808"/>
          </a:xfrm>
        </p:spPr>
        <p:txBody>
          <a:bodyPr numCol="1" spcCol="0">
            <a:noAutofit/>
          </a:bodyPr>
          <a:lstStyle>
            <a:lvl1pPr algn="ctr">
              <a:spcBef>
                <a:spcPts val="0"/>
              </a:spcBef>
              <a:spcAft>
                <a:spcPts val="300"/>
              </a:spcAft>
              <a:defRPr lang="en-US" sz="1200" dirty="0" smtClean="0">
                <a:latin typeface="+mn-lt"/>
              </a:defRPr>
            </a:lvl1pPr>
            <a:lvl2pPr algn="ctr">
              <a:spcBef>
                <a:spcPts val="0"/>
              </a:spcBef>
              <a:spcAft>
                <a:spcPts val="300"/>
              </a:spcAft>
              <a:defRPr lang="en-US" sz="1200" dirty="0">
                <a:latin typeface="+mn-lt"/>
              </a:defRPr>
            </a:lvl2pPr>
            <a:lvl3pPr algn="ctr">
              <a:lnSpc>
                <a:spcPct val="100000"/>
              </a:lnSpc>
              <a:spcBef>
                <a:spcPts val="0"/>
              </a:spcBef>
              <a:spcAft>
                <a:spcPts val="300"/>
              </a:spcAft>
              <a:defRPr lang="en-US" sz="1100" b="0" dirty="0">
                <a:latin typeface="+mn-lt"/>
              </a:defRPr>
            </a:lvl3pPr>
            <a:lvl4pPr algn="ctr">
              <a:lnSpc>
                <a:spcPct val="100000"/>
              </a:lnSpc>
              <a:spcBef>
                <a:spcPts val="0"/>
              </a:spcBef>
              <a:spcAft>
                <a:spcPts val="300"/>
              </a:spcAft>
              <a:defRPr lang="en-US" sz="1400" b="0" dirty="0">
                <a:latin typeface="Bahnschrift" panose="020B0502040204020203" pitchFamily="34" charset="0"/>
              </a:defRPr>
            </a:lvl4pPr>
            <a:lvl5pPr marL="0" marR="0" indent="0" algn="ctr" defTabSz="1088776" rtl="0" eaLnBrk="1" fontAlgn="auto" latinLnBrk="0" hangingPunct="1">
              <a:lnSpc>
                <a:spcPct val="100000"/>
              </a:lnSpc>
              <a:spcBef>
                <a:spcPts val="0"/>
              </a:spcBef>
              <a:spcAft>
                <a:spcPts val="300"/>
              </a:spcAft>
              <a:buClrTx/>
              <a:buSzTx/>
              <a:buFont typeface="Arial" pitchFamily="34" charset="0"/>
              <a:buNone/>
              <a:tabLst/>
              <a:defRPr lang="en-US" sz="1200" dirty="0" smtClean="0">
                <a:latin typeface="Bahnschrift" panose="020B0502040204020203" pitchFamily="34" charset="0"/>
              </a:defRPr>
            </a:lvl5pPr>
            <a:lvl6pPr algn="ctr">
              <a:spcBef>
                <a:spcPts val="0"/>
              </a:spcBef>
              <a:spcAft>
                <a:spcPts val="300"/>
              </a:spcAft>
              <a:defRPr lang="en-US" sz="1100" dirty="0" smtClean="0"/>
            </a:lvl6pPr>
            <a:lvl7pPr algn="ctr">
              <a:spcBef>
                <a:spcPts val="0"/>
              </a:spcBef>
              <a:spcAft>
                <a:spcPts val="300"/>
              </a:spcAft>
              <a:defRPr sz="1200"/>
            </a:lvl7pPr>
            <a:lvl8pPr algn="ctr">
              <a:spcBef>
                <a:spcPts val="0"/>
              </a:spcBef>
              <a:spcAft>
                <a:spcPts val="300"/>
              </a:spcAft>
              <a:defRPr sz="1100"/>
            </a:lvl8pPr>
            <a:lvl9pPr algn="ctr">
              <a:spcBef>
                <a:spcPts val="0"/>
              </a:spcBef>
              <a:spcAft>
                <a:spcPts val="300"/>
              </a:spcAft>
              <a:defRPr sz="900"/>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8" name="Content Placeholder 3">
            <a:extLst>
              <a:ext uri="{FF2B5EF4-FFF2-40B4-BE49-F238E27FC236}">
                <a16:creationId xmlns:a16="http://schemas.microsoft.com/office/drawing/2014/main" id="{5BE61E6B-0897-0EC0-A5C2-ACDFFF590921}"/>
              </a:ext>
            </a:extLst>
          </p:cNvPr>
          <p:cNvSpPr>
            <a:spLocks noGrp="1"/>
          </p:cNvSpPr>
          <p:nvPr>
            <p:ph sz="quarter" idx="53" hasCustomPrompt="1"/>
          </p:nvPr>
        </p:nvSpPr>
        <p:spPr>
          <a:xfrm>
            <a:off x="8817843" y="4667250"/>
            <a:ext cx="2652687" cy="1138808"/>
          </a:xfrm>
        </p:spPr>
        <p:txBody>
          <a:bodyPr numCol="1" spcCol="0">
            <a:noAutofit/>
          </a:bodyPr>
          <a:lstStyle>
            <a:lvl1pPr algn="ctr">
              <a:spcBef>
                <a:spcPts val="0"/>
              </a:spcBef>
              <a:spcAft>
                <a:spcPts val="300"/>
              </a:spcAft>
              <a:defRPr lang="en-US" sz="1200" dirty="0" smtClean="0">
                <a:latin typeface="+mn-lt"/>
              </a:defRPr>
            </a:lvl1pPr>
            <a:lvl2pPr algn="ctr">
              <a:spcBef>
                <a:spcPts val="0"/>
              </a:spcBef>
              <a:spcAft>
                <a:spcPts val="300"/>
              </a:spcAft>
              <a:defRPr lang="en-US" sz="1200" dirty="0">
                <a:latin typeface="+mn-lt"/>
              </a:defRPr>
            </a:lvl2pPr>
            <a:lvl3pPr algn="ctr">
              <a:lnSpc>
                <a:spcPct val="100000"/>
              </a:lnSpc>
              <a:spcBef>
                <a:spcPts val="0"/>
              </a:spcBef>
              <a:spcAft>
                <a:spcPts val="300"/>
              </a:spcAft>
              <a:defRPr lang="en-US" sz="1100" b="0" dirty="0">
                <a:latin typeface="+mn-lt"/>
              </a:defRPr>
            </a:lvl3pPr>
            <a:lvl4pPr algn="ctr">
              <a:lnSpc>
                <a:spcPct val="100000"/>
              </a:lnSpc>
              <a:spcBef>
                <a:spcPts val="0"/>
              </a:spcBef>
              <a:spcAft>
                <a:spcPts val="300"/>
              </a:spcAft>
              <a:defRPr lang="en-US" sz="1400" b="0" dirty="0">
                <a:latin typeface="Bahnschrift" panose="020B0502040204020203" pitchFamily="34" charset="0"/>
              </a:defRPr>
            </a:lvl4pPr>
            <a:lvl5pPr marL="0" marR="0" indent="0" algn="ctr" defTabSz="1088776" rtl="0" eaLnBrk="1" fontAlgn="auto" latinLnBrk="0" hangingPunct="1">
              <a:lnSpc>
                <a:spcPct val="100000"/>
              </a:lnSpc>
              <a:spcBef>
                <a:spcPts val="0"/>
              </a:spcBef>
              <a:spcAft>
                <a:spcPts val="300"/>
              </a:spcAft>
              <a:buClrTx/>
              <a:buSzTx/>
              <a:buFont typeface="Arial" pitchFamily="34" charset="0"/>
              <a:buNone/>
              <a:tabLst/>
              <a:defRPr lang="en-US" sz="1200" dirty="0" smtClean="0">
                <a:latin typeface="Bahnschrift" panose="020B0502040204020203" pitchFamily="34" charset="0"/>
              </a:defRPr>
            </a:lvl5pPr>
            <a:lvl6pPr algn="ctr">
              <a:spcBef>
                <a:spcPts val="0"/>
              </a:spcBef>
              <a:spcAft>
                <a:spcPts val="300"/>
              </a:spcAft>
              <a:defRPr lang="en-US" sz="1100" dirty="0" smtClean="0"/>
            </a:lvl6pPr>
            <a:lvl7pPr algn="ctr">
              <a:spcBef>
                <a:spcPts val="0"/>
              </a:spcBef>
              <a:spcAft>
                <a:spcPts val="300"/>
              </a:spcAft>
              <a:defRPr sz="1200"/>
            </a:lvl7pPr>
            <a:lvl8pPr algn="ctr">
              <a:spcBef>
                <a:spcPts val="0"/>
              </a:spcBef>
              <a:spcAft>
                <a:spcPts val="300"/>
              </a:spcAft>
              <a:defRPr sz="1100"/>
            </a:lvl8pPr>
            <a:lvl9pPr algn="ctr">
              <a:spcBef>
                <a:spcPts val="0"/>
              </a:spcBef>
              <a:spcAft>
                <a:spcPts val="300"/>
              </a:spcAft>
              <a:defRPr sz="900"/>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5" name="Footer Placeholder 4">
            <a:extLst>
              <a:ext uri="{FF2B5EF4-FFF2-40B4-BE49-F238E27FC236}">
                <a16:creationId xmlns:a16="http://schemas.microsoft.com/office/drawing/2014/main" id="{F3BC9922-115D-D16E-B60B-1EAAAF2FAF0E}"/>
              </a:ext>
            </a:extLst>
          </p:cNvPr>
          <p:cNvSpPr>
            <a:spLocks noGrp="1"/>
          </p:cNvSpPr>
          <p:nvPr>
            <p:ph type="ftr" sz="quarter" idx="54"/>
          </p:nvPr>
        </p:nvSpPr>
        <p:spPr/>
        <p:txBody>
          <a:bodyPr/>
          <a:lstStyle/>
          <a:p>
            <a:endParaRPr lang="en-AU"/>
          </a:p>
        </p:txBody>
      </p:sp>
    </p:spTree>
    <p:extLst>
      <p:ext uri="{BB962C8B-B14F-4D97-AF65-F5344CB8AC3E}">
        <p14:creationId xmlns:p14="http://schemas.microsoft.com/office/powerpoint/2010/main" val="219599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pPr lvl="0"/>
            <a:r>
              <a:rPr lang="en-AU" noProof="0"/>
              <a:t>Click to add text</a:t>
            </a:r>
          </a:p>
        </p:txBody>
      </p:sp>
      <p:sp>
        <p:nvSpPr>
          <p:cNvPr id="6" name="Slide Number Placeholder 5">
            <a:extLst>
              <a:ext uri="{FF2B5EF4-FFF2-40B4-BE49-F238E27FC236}">
                <a16:creationId xmlns:a16="http://schemas.microsoft.com/office/drawing/2014/main" id="{1B956AAF-BC4C-A3E1-8787-663A71052670}"/>
              </a:ext>
            </a:extLst>
          </p:cNvPr>
          <p:cNvSpPr>
            <a:spLocks noGrp="1"/>
          </p:cNvSpPr>
          <p:nvPr>
            <p:ph type="sldNum" sz="quarter" idx="11"/>
          </p:nvPr>
        </p:nvSpPr>
        <p:spPr/>
        <p:txBody>
          <a:bodyPr/>
          <a:lstStyle/>
          <a:p>
            <a:fld id="{E917DE0E-AFB1-41FD-BC35-27DB61CA125F}" type="slidenum">
              <a:rPr lang="en-AU" smtClean="0"/>
              <a:pPr/>
              <a:t>‹#›</a:t>
            </a:fld>
            <a:endParaRPr lang="en-AU"/>
          </a:p>
        </p:txBody>
      </p:sp>
      <p:sp>
        <p:nvSpPr>
          <p:cNvPr id="7" name="Freeform 5">
            <a:extLst>
              <a:ext uri="{FF2B5EF4-FFF2-40B4-BE49-F238E27FC236}">
                <a16:creationId xmlns:a16="http://schemas.microsoft.com/office/drawing/2014/main" id="{38427333-1F92-EDDD-F295-7524A4A4FA10}"/>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8" name="Straight Connector 7">
            <a:extLst>
              <a:ext uri="{FF2B5EF4-FFF2-40B4-BE49-F238E27FC236}">
                <a16:creationId xmlns:a16="http://schemas.microsoft.com/office/drawing/2014/main" id="{636C507A-507B-265C-FEDD-EE16C6CB16BC}"/>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F1123E07-2E94-0E49-E476-9BCBE4EEE929}"/>
              </a:ext>
            </a:extLst>
          </p:cNvPr>
          <p:cNvSpPr>
            <a:spLocks noGrp="1"/>
          </p:cNvSpPr>
          <p:nvPr>
            <p:ph type="ftr" sz="quarter" idx="12"/>
          </p:nvPr>
        </p:nvSpPr>
        <p:spPr/>
        <p:txBody>
          <a:bodyPr/>
          <a:lstStyle/>
          <a:p>
            <a:endParaRPr lang="en-AU"/>
          </a:p>
        </p:txBody>
      </p:sp>
    </p:spTree>
    <p:extLst>
      <p:ext uri="{BB962C8B-B14F-4D97-AF65-F5344CB8AC3E}">
        <p14:creationId xmlns:p14="http://schemas.microsoft.com/office/powerpoint/2010/main" val="98070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96913" y="1592262"/>
            <a:ext cx="10801350" cy="4681537"/>
          </a:xfrm>
        </p:spPr>
        <p:txBody>
          <a:bodyPr numCol="2" spcCol="360000">
            <a:normAutofit/>
          </a:bodyPr>
          <a:lstStyle>
            <a:lvl1pPr>
              <a:spcBef>
                <a:spcPts val="600"/>
              </a:spcBef>
              <a:tabLst>
                <a:tab pos="5207000" algn="r"/>
              </a:tabLst>
              <a:defRPr lang="en-US" dirty="0" smtClean="0"/>
            </a:lvl1pPr>
            <a:lvl2pPr>
              <a:defRPr lang="en-US" dirty="0"/>
            </a:lvl2pPr>
            <a:lvl3pPr>
              <a:defRPr lang="en-US" dirty="0"/>
            </a:lvl3pPr>
            <a:lvl4pPr>
              <a:defRPr lang="en-US" dirty="0"/>
            </a:lvl4pPr>
            <a:lvl5pPr marL="0" marR="0" indent="0" algn="l" defTabSz="1088776" rtl="0" eaLnBrk="1" fontAlgn="auto" latinLnBrk="0" hangingPunct="1">
              <a:lnSpc>
                <a:spcPct val="100000"/>
              </a:lnSpc>
              <a:spcBef>
                <a:spcPts val="600"/>
              </a:spcBef>
              <a:spcAft>
                <a:spcPts val="400"/>
              </a:spcAft>
              <a:buClrTx/>
              <a:buSzTx/>
              <a:buFont typeface="Arial" pitchFamily="34" charset="0"/>
              <a:buNone/>
              <a:tabLst/>
              <a:defRPr lang="en-US" dirty="0" smtClean="0"/>
            </a:lvl5pPr>
            <a:lvl6pPr>
              <a:defRPr lang="en-US" dirty="0" smtClean="0"/>
            </a:lvl6pPr>
            <a:lvl7pPr>
              <a:defRPr/>
            </a:lvl7pPr>
            <a:lvl8pPr>
              <a:defRPr/>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Title 1"/>
          <p:cNvSpPr>
            <a:spLocks noGrp="1"/>
          </p:cNvSpPr>
          <p:nvPr>
            <p:ph type="title" hasCustomPrompt="1"/>
          </p:nvPr>
        </p:nvSpPr>
        <p:spPr/>
        <p:txBody>
          <a:bodyPr>
            <a:noAutofit/>
          </a:bodyPr>
          <a:lstStyle>
            <a:lvl1pPr>
              <a:defRPr sz="3000"/>
            </a:lvl1pPr>
          </a:lstStyle>
          <a:p>
            <a:pPr lvl="0"/>
            <a:r>
              <a:rPr lang="en-AU" noProof="0"/>
              <a:t>Click to add text</a:t>
            </a:r>
          </a:p>
        </p:txBody>
      </p:sp>
      <p:sp>
        <p:nvSpPr>
          <p:cNvPr id="7" name="Slide Number Placeholder 6">
            <a:extLst>
              <a:ext uri="{FF2B5EF4-FFF2-40B4-BE49-F238E27FC236}">
                <a16:creationId xmlns:a16="http://schemas.microsoft.com/office/drawing/2014/main" id="{5894CA63-03A3-6720-1BCB-B1715F709F96}"/>
              </a:ext>
            </a:extLst>
          </p:cNvPr>
          <p:cNvSpPr>
            <a:spLocks noGrp="1"/>
          </p:cNvSpPr>
          <p:nvPr>
            <p:ph type="sldNum" sz="quarter" idx="13"/>
          </p:nvPr>
        </p:nvSpPr>
        <p:spPr/>
        <p:txBody>
          <a:bodyPr/>
          <a:lstStyle/>
          <a:p>
            <a:fld id="{E917DE0E-AFB1-41FD-BC35-27DB61CA125F}" type="slidenum">
              <a:rPr lang="en-AU" smtClean="0"/>
              <a:pPr/>
              <a:t>‹#›</a:t>
            </a:fld>
            <a:endParaRPr lang="en-AU"/>
          </a:p>
        </p:txBody>
      </p:sp>
      <p:sp>
        <p:nvSpPr>
          <p:cNvPr id="8" name="Freeform 5">
            <a:extLst>
              <a:ext uri="{FF2B5EF4-FFF2-40B4-BE49-F238E27FC236}">
                <a16:creationId xmlns:a16="http://schemas.microsoft.com/office/drawing/2014/main" id="{D58E25B2-2E4B-1E90-7F48-AB2FE3EE50BE}"/>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9" name="Straight Connector 8">
            <a:extLst>
              <a:ext uri="{FF2B5EF4-FFF2-40B4-BE49-F238E27FC236}">
                <a16:creationId xmlns:a16="http://schemas.microsoft.com/office/drawing/2014/main" id="{C44AB37B-4A3F-1149-977A-567B132A28EA}"/>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404CDA2-F3F6-774E-82E3-1B8E452B3C24}"/>
              </a:ext>
            </a:extLst>
          </p:cNvPr>
          <p:cNvSpPr>
            <a:spLocks noGrp="1"/>
          </p:cNvSpPr>
          <p:nvPr>
            <p:ph type="ftr" sz="quarter" idx="14"/>
          </p:nvPr>
        </p:nvSpPr>
        <p:spPr/>
        <p:txBody>
          <a:bodyPr/>
          <a:lstStyle/>
          <a:p>
            <a:endParaRPr lang="en-AU"/>
          </a:p>
        </p:txBody>
      </p:sp>
    </p:spTree>
    <p:extLst>
      <p:ext uri="{BB962C8B-B14F-4D97-AF65-F5344CB8AC3E}">
        <p14:creationId xmlns:p14="http://schemas.microsoft.com/office/powerpoint/2010/main" val="382815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56DCA0CD-0C02-28CD-E30E-B896106E15BD}"/>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4" name="Straight Connector 3">
            <a:extLst>
              <a:ext uri="{FF2B5EF4-FFF2-40B4-BE49-F238E27FC236}">
                <a16:creationId xmlns:a16="http://schemas.microsoft.com/office/drawing/2014/main" id="{0A5B2BFA-8DC6-FEC7-8230-6F870589201B}"/>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72FABE5F-9536-A370-53C2-3FBEA2DB9DC7}"/>
              </a:ext>
            </a:extLst>
          </p:cNvPr>
          <p:cNvSpPr>
            <a:spLocks noGrp="1"/>
          </p:cNvSpPr>
          <p:nvPr>
            <p:ph type="ftr" sz="quarter" idx="10"/>
          </p:nvPr>
        </p:nvSpPr>
        <p:spPr/>
        <p:txBody>
          <a:bodyPr/>
          <a:lstStyle/>
          <a:p>
            <a:endParaRPr lang="en-AU"/>
          </a:p>
        </p:txBody>
      </p:sp>
      <p:sp>
        <p:nvSpPr>
          <p:cNvPr id="7" name="Slide Number Placeholder 6">
            <a:extLst>
              <a:ext uri="{FF2B5EF4-FFF2-40B4-BE49-F238E27FC236}">
                <a16:creationId xmlns:a16="http://schemas.microsoft.com/office/drawing/2014/main" id="{A01D8ECF-6303-268E-7A86-0FFE6BC03862}"/>
              </a:ext>
            </a:extLst>
          </p:cNvPr>
          <p:cNvSpPr>
            <a:spLocks noGrp="1"/>
          </p:cNvSpPr>
          <p:nvPr>
            <p:ph type="sldNum" sz="quarter" idx="11"/>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40414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96913" y="1592262"/>
            <a:ext cx="10801350" cy="4681537"/>
          </a:xfrm>
        </p:spPr>
        <p:txBody>
          <a:bodyPr>
            <a:noAutofit/>
          </a:bodyPr>
          <a:lstStyle>
            <a:lvl1pPr>
              <a:defRPr lang="en-US" dirty="0" smtClean="0"/>
            </a:lvl1pPr>
            <a:lvl2pPr>
              <a:defRPr lang="en-US" dirty="0"/>
            </a:lvl2pPr>
            <a:lvl3pPr>
              <a:defRPr lang="en-US" dirty="0"/>
            </a:lvl3pPr>
            <a:lvl4pPr>
              <a:defRPr lang="en-US" dirty="0"/>
            </a:lvl4pPr>
            <a:lvl5pPr marL="0" marR="0" indent="0" algn="l" defTabSz="1088776" rtl="0" eaLnBrk="1" fontAlgn="auto" latinLnBrk="0" hangingPunct="1">
              <a:lnSpc>
                <a:spcPct val="100000"/>
              </a:lnSpc>
              <a:spcBef>
                <a:spcPts val="600"/>
              </a:spcBef>
              <a:spcAft>
                <a:spcPts val="400"/>
              </a:spcAft>
              <a:buClrTx/>
              <a:buSzTx/>
              <a:buFont typeface="Arial" pitchFamily="34" charset="0"/>
              <a:buNone/>
              <a:tabLst/>
              <a:defRPr lang="en-US" dirty="0" smtClean="0"/>
            </a:lvl5pPr>
            <a:lvl6pPr>
              <a:defRPr lang="en-US" dirty="0" smtClean="0"/>
            </a:lvl6pPr>
            <a:lvl7pPr>
              <a:defRPr/>
            </a:lvl7pPr>
            <a:lvl8pPr>
              <a:defRPr/>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Title 1"/>
          <p:cNvSpPr>
            <a:spLocks noGrp="1"/>
          </p:cNvSpPr>
          <p:nvPr>
            <p:ph type="title" hasCustomPrompt="1"/>
          </p:nvPr>
        </p:nvSpPr>
        <p:spPr/>
        <p:txBody>
          <a:bodyPr>
            <a:noAutofit/>
          </a:bodyPr>
          <a:lstStyle>
            <a:lvl1pPr>
              <a:defRPr sz="3000"/>
            </a:lvl1pPr>
          </a:lstStyle>
          <a:p>
            <a:pPr lvl="0"/>
            <a:r>
              <a:rPr lang="en-AU" noProof="0"/>
              <a:t>Click to add text</a:t>
            </a:r>
          </a:p>
        </p:txBody>
      </p:sp>
      <p:sp>
        <p:nvSpPr>
          <p:cNvPr id="7" name="Slide Number Placeholder 6">
            <a:extLst>
              <a:ext uri="{FF2B5EF4-FFF2-40B4-BE49-F238E27FC236}">
                <a16:creationId xmlns:a16="http://schemas.microsoft.com/office/drawing/2014/main" id="{5894CA63-03A3-6720-1BCB-B1715F709F96}"/>
              </a:ext>
            </a:extLst>
          </p:cNvPr>
          <p:cNvSpPr>
            <a:spLocks noGrp="1"/>
          </p:cNvSpPr>
          <p:nvPr>
            <p:ph type="sldNum" sz="quarter" idx="13"/>
          </p:nvPr>
        </p:nvSpPr>
        <p:spPr/>
        <p:txBody>
          <a:bodyPr/>
          <a:lstStyle/>
          <a:p>
            <a:fld id="{E917DE0E-AFB1-41FD-BC35-27DB61CA125F}" type="slidenum">
              <a:rPr lang="en-AU" smtClean="0"/>
              <a:pPr/>
              <a:t>‹#›</a:t>
            </a:fld>
            <a:endParaRPr lang="en-AU"/>
          </a:p>
        </p:txBody>
      </p:sp>
      <p:sp>
        <p:nvSpPr>
          <p:cNvPr id="8" name="Freeform 5">
            <a:extLst>
              <a:ext uri="{FF2B5EF4-FFF2-40B4-BE49-F238E27FC236}">
                <a16:creationId xmlns:a16="http://schemas.microsoft.com/office/drawing/2014/main" id="{D58E25B2-2E4B-1E90-7F48-AB2FE3EE50BE}"/>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9" name="Straight Connector 8">
            <a:extLst>
              <a:ext uri="{FF2B5EF4-FFF2-40B4-BE49-F238E27FC236}">
                <a16:creationId xmlns:a16="http://schemas.microsoft.com/office/drawing/2014/main" id="{C44AB37B-4A3F-1149-977A-567B132A28EA}"/>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69A9CFF-8DE1-62DD-E613-FC94AD480354}"/>
              </a:ext>
            </a:extLst>
          </p:cNvPr>
          <p:cNvSpPr>
            <a:spLocks noGrp="1"/>
          </p:cNvSpPr>
          <p:nvPr>
            <p:ph type="ftr" sz="quarter" idx="14"/>
          </p:nvPr>
        </p:nvSpPr>
        <p:spPr/>
        <p:txBody>
          <a:bodyPr/>
          <a:lstStyle/>
          <a:p>
            <a:endParaRPr lang="en-AU"/>
          </a:p>
        </p:txBody>
      </p:sp>
    </p:spTree>
    <p:extLst>
      <p:ext uri="{BB962C8B-B14F-4D97-AF65-F5344CB8AC3E}">
        <p14:creationId xmlns:p14="http://schemas.microsoft.com/office/powerpoint/2010/main" val="174075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96913" y="1592262"/>
            <a:ext cx="10801350" cy="4681537"/>
          </a:xfrm>
        </p:spPr>
        <p:txBody>
          <a:bodyPr>
            <a:noAutofit/>
          </a:bodyPr>
          <a:lstStyle>
            <a:lvl1pPr>
              <a:defRPr lang="en-US" sz="1200" dirty="0" smtClean="0"/>
            </a:lvl1pPr>
            <a:lvl2pPr>
              <a:defRPr lang="en-US" sz="1200" dirty="0"/>
            </a:lvl2pPr>
            <a:lvl3pPr>
              <a:defRPr lang="en-US" sz="1100" dirty="0"/>
            </a:lvl3pPr>
            <a:lvl4pPr>
              <a:defRPr lang="en-US" dirty="0"/>
            </a:lvl4pPr>
            <a:lvl5pPr marL="0" marR="0" indent="0" algn="l" defTabSz="1088776" rtl="0" eaLnBrk="1" fontAlgn="auto" latinLnBrk="0" hangingPunct="1">
              <a:lnSpc>
                <a:spcPct val="90000"/>
              </a:lnSpc>
              <a:spcBef>
                <a:spcPts val="600"/>
              </a:spcBef>
              <a:spcAft>
                <a:spcPts val="400"/>
              </a:spcAft>
              <a:buClrTx/>
              <a:buSzTx/>
              <a:buFont typeface="+mj-lt"/>
              <a:buNone/>
              <a:tabLst/>
              <a:defRPr lang="en-US" sz="2000" dirty="0" smtClean="0">
                <a:latin typeface="Bahnschrift" panose="020B0502040204020203" pitchFamily="34" charset="0"/>
              </a:defRPr>
            </a:lvl5pPr>
            <a:lvl6pPr marL="360000" indent="-360000">
              <a:lnSpc>
                <a:spcPct val="90000"/>
              </a:lnSpc>
              <a:spcBef>
                <a:spcPts val="2000"/>
              </a:spcBef>
              <a:spcAft>
                <a:spcPts val="1000"/>
              </a:spcAft>
              <a:buFont typeface="+mj-lt"/>
              <a:buAutoNum type="arabicPeriod"/>
              <a:defRPr lang="en-US" sz="1400" dirty="0" smtClean="0"/>
            </a:lvl6pPr>
            <a:lvl7pPr marL="720000" indent="-360000">
              <a:spcAft>
                <a:spcPts val="1000"/>
              </a:spcAft>
              <a:buFont typeface="+mj-lt"/>
              <a:buAutoNum type="romanLcPeriod"/>
              <a:defRPr sz="1200">
                <a:latin typeface="Bahnschrift Light" panose="020B0502040204020203" pitchFamily="34" charset="0"/>
              </a:defRPr>
            </a:lvl7pPr>
            <a:lvl8pPr marL="900000" indent="-360000">
              <a:defRPr sz="1100"/>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 name="Title 1"/>
          <p:cNvSpPr>
            <a:spLocks noGrp="1"/>
          </p:cNvSpPr>
          <p:nvPr>
            <p:ph type="title" hasCustomPrompt="1"/>
          </p:nvPr>
        </p:nvSpPr>
        <p:spPr/>
        <p:txBody>
          <a:bodyPr>
            <a:noAutofit/>
          </a:bodyPr>
          <a:lstStyle>
            <a:lvl1pPr>
              <a:defRPr sz="3000"/>
            </a:lvl1pPr>
          </a:lstStyle>
          <a:p>
            <a:pPr lvl="0"/>
            <a:r>
              <a:rPr lang="en-AU" noProof="0"/>
              <a:t>Click to add text</a:t>
            </a:r>
          </a:p>
        </p:txBody>
      </p:sp>
      <p:sp>
        <p:nvSpPr>
          <p:cNvPr id="8" name="Freeform 5">
            <a:extLst>
              <a:ext uri="{FF2B5EF4-FFF2-40B4-BE49-F238E27FC236}">
                <a16:creationId xmlns:a16="http://schemas.microsoft.com/office/drawing/2014/main" id="{D58E25B2-2E4B-1E90-7F48-AB2FE3EE50BE}"/>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9" name="Straight Connector 8">
            <a:extLst>
              <a:ext uri="{FF2B5EF4-FFF2-40B4-BE49-F238E27FC236}">
                <a16:creationId xmlns:a16="http://schemas.microsoft.com/office/drawing/2014/main" id="{C44AB37B-4A3F-1149-977A-567B132A28EA}"/>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66D445AA-4271-0467-FFA6-08EB6077AA4D}"/>
              </a:ext>
            </a:extLst>
          </p:cNvPr>
          <p:cNvSpPr>
            <a:spLocks noGrp="1"/>
          </p:cNvSpPr>
          <p:nvPr>
            <p:ph type="dt" sz="half" idx="12"/>
          </p:nvPr>
        </p:nvSpPr>
        <p:spPr/>
        <p:txBody>
          <a:bodyPr/>
          <a:lstStyle/>
          <a:p>
            <a:r>
              <a:rPr lang="en-US"/>
              <a:t>Draft/Confidential/etc [edit details in header/footer]</a:t>
            </a:r>
            <a:endParaRPr lang="en-AU"/>
          </a:p>
        </p:txBody>
      </p:sp>
      <p:sp>
        <p:nvSpPr>
          <p:cNvPr id="10" name="Footer Placeholder 9">
            <a:extLst>
              <a:ext uri="{FF2B5EF4-FFF2-40B4-BE49-F238E27FC236}">
                <a16:creationId xmlns:a16="http://schemas.microsoft.com/office/drawing/2014/main" id="{D02B44F5-0091-5629-0298-5C94FCB4DD09}"/>
              </a:ext>
            </a:extLst>
          </p:cNvPr>
          <p:cNvSpPr>
            <a:spLocks noGrp="1"/>
          </p:cNvSpPr>
          <p:nvPr>
            <p:ph type="ftr" sz="quarter" idx="13"/>
          </p:nvPr>
        </p:nvSpPr>
        <p:spPr/>
        <p:txBody>
          <a:bodyPr/>
          <a:lstStyle/>
          <a:p>
            <a:r>
              <a:rPr lang="en-GB"/>
              <a:t>Footer [edit details in header/footer]</a:t>
            </a:r>
            <a:endParaRPr lang="en-AU"/>
          </a:p>
        </p:txBody>
      </p:sp>
      <p:sp>
        <p:nvSpPr>
          <p:cNvPr id="11" name="Slide Number Placeholder 10">
            <a:extLst>
              <a:ext uri="{FF2B5EF4-FFF2-40B4-BE49-F238E27FC236}">
                <a16:creationId xmlns:a16="http://schemas.microsoft.com/office/drawing/2014/main" id="{A72D13C5-7965-E886-5E04-EA0BE7165614}"/>
              </a:ext>
            </a:extLst>
          </p:cNvPr>
          <p:cNvSpPr>
            <a:spLocks noGrp="1"/>
          </p:cNvSpPr>
          <p:nvPr>
            <p:ph type="sldNum" sz="quarter" idx="14"/>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989395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sz="3000"/>
            </a:lvl1pPr>
          </a:lstStyle>
          <a:p>
            <a:pPr lvl="0"/>
            <a:r>
              <a:rPr lang="en-AU" noProof="0"/>
              <a:t>Click to add text</a:t>
            </a:r>
          </a:p>
        </p:txBody>
      </p:sp>
      <p:sp>
        <p:nvSpPr>
          <p:cNvPr id="7" name="Table Placeholder 6">
            <a:extLst>
              <a:ext uri="{FF2B5EF4-FFF2-40B4-BE49-F238E27FC236}">
                <a16:creationId xmlns:a16="http://schemas.microsoft.com/office/drawing/2014/main" id="{81430B16-4DE7-E751-7763-E171B8FF87FA}"/>
              </a:ext>
            </a:extLst>
          </p:cNvPr>
          <p:cNvSpPr>
            <a:spLocks noGrp="1"/>
          </p:cNvSpPr>
          <p:nvPr>
            <p:ph type="tbl" sz="quarter" idx="12"/>
          </p:nvPr>
        </p:nvSpPr>
        <p:spPr>
          <a:xfrm>
            <a:off x="4081463" y="1592264"/>
            <a:ext cx="7416799" cy="4681536"/>
          </a:xfrm>
        </p:spPr>
        <p:txBody>
          <a:bodyPr bIns="900000" anchor="ctr">
            <a:noAutofit/>
          </a:bodyPr>
          <a:lstStyle>
            <a:lvl1pPr algn="ctr">
              <a:defRPr/>
            </a:lvl1pPr>
          </a:lstStyle>
          <a:p>
            <a:r>
              <a:rPr lang="en-US"/>
              <a:t>Click icon to add table</a:t>
            </a:r>
            <a:endParaRPr lang="en-AU"/>
          </a:p>
        </p:txBody>
      </p:sp>
      <p:sp>
        <p:nvSpPr>
          <p:cNvPr id="13" name="Slide Number Placeholder 12">
            <a:extLst>
              <a:ext uri="{FF2B5EF4-FFF2-40B4-BE49-F238E27FC236}">
                <a16:creationId xmlns:a16="http://schemas.microsoft.com/office/drawing/2014/main" id="{2ED35403-52BB-3C14-0626-E5B2CA4A2ECD}"/>
              </a:ext>
            </a:extLst>
          </p:cNvPr>
          <p:cNvSpPr>
            <a:spLocks noGrp="1"/>
          </p:cNvSpPr>
          <p:nvPr>
            <p:ph type="sldNum" sz="quarter" idx="14"/>
          </p:nvPr>
        </p:nvSpPr>
        <p:spPr/>
        <p:txBody>
          <a:bodyPr/>
          <a:lstStyle/>
          <a:p>
            <a:fld id="{E917DE0E-AFB1-41FD-BC35-27DB61CA125F}" type="slidenum">
              <a:rPr lang="en-AU" smtClean="0"/>
              <a:pPr/>
              <a:t>‹#›</a:t>
            </a:fld>
            <a:endParaRPr lang="en-AU"/>
          </a:p>
        </p:txBody>
      </p:sp>
      <p:sp>
        <p:nvSpPr>
          <p:cNvPr id="5" name="Content Placeholder 3">
            <a:extLst>
              <a:ext uri="{FF2B5EF4-FFF2-40B4-BE49-F238E27FC236}">
                <a16:creationId xmlns:a16="http://schemas.microsoft.com/office/drawing/2014/main" id="{CDA54F0F-E131-EC8B-0602-8E33893EBA06}"/>
              </a:ext>
            </a:extLst>
          </p:cNvPr>
          <p:cNvSpPr>
            <a:spLocks noGrp="1"/>
          </p:cNvSpPr>
          <p:nvPr>
            <p:ph sz="quarter" idx="15" hasCustomPrompt="1"/>
          </p:nvPr>
        </p:nvSpPr>
        <p:spPr>
          <a:xfrm>
            <a:off x="696913" y="1592264"/>
            <a:ext cx="2952402" cy="4681536"/>
          </a:xfrm>
        </p:spPr>
        <p:txBody>
          <a:bodyPr numCol="1" spcCol="0">
            <a:noAutofit/>
          </a:bodyPr>
          <a:lstStyle>
            <a:lvl1pPr>
              <a:spcBef>
                <a:spcPts val="1200"/>
              </a:spcBef>
              <a:spcAft>
                <a:spcPts val="600"/>
              </a:spcAft>
              <a:defRPr lang="en-US" dirty="0" smtClean="0"/>
            </a:lvl1pPr>
            <a:lvl2pPr>
              <a:defRPr lang="en-US" dirty="0"/>
            </a:lvl2pPr>
            <a:lvl3pPr>
              <a:defRPr lang="en-US" dirty="0"/>
            </a:lvl3pPr>
            <a:lvl4pPr>
              <a:defRPr lang="en-US" sz="1400" dirty="0">
                <a:solidFill>
                  <a:schemeClr val="tx1"/>
                </a:solidFill>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dirty="0" smtClean="0"/>
            </a:lvl5pPr>
            <a:lvl6pPr>
              <a:defRPr lang="en-US" sz="1100" dirty="0" smtClean="0"/>
            </a:lvl6pPr>
            <a:lvl7pPr>
              <a:defRPr/>
            </a:lvl7pPr>
            <a:lvl8pPr>
              <a:defRPr/>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6" name="Freeform 5">
            <a:extLst>
              <a:ext uri="{FF2B5EF4-FFF2-40B4-BE49-F238E27FC236}">
                <a16:creationId xmlns:a16="http://schemas.microsoft.com/office/drawing/2014/main" id="{737D6D4D-B788-9AC4-7669-D7B130892A02}"/>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8" name="Straight Connector 7">
            <a:extLst>
              <a:ext uri="{FF2B5EF4-FFF2-40B4-BE49-F238E27FC236}">
                <a16:creationId xmlns:a16="http://schemas.microsoft.com/office/drawing/2014/main" id="{2CA293BA-FFFE-8306-7B0E-D5BE63C54C7C}"/>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AAFF79E-AFD0-FAAA-AA41-719A131CC556}"/>
              </a:ext>
            </a:extLst>
          </p:cNvPr>
          <p:cNvSpPr>
            <a:spLocks noGrp="1"/>
          </p:cNvSpPr>
          <p:nvPr>
            <p:ph type="ftr" sz="quarter" idx="16"/>
          </p:nvPr>
        </p:nvSpPr>
        <p:spPr/>
        <p:txBody>
          <a:bodyPr/>
          <a:lstStyle/>
          <a:p>
            <a:endParaRPr lang="en-AU"/>
          </a:p>
        </p:txBody>
      </p:sp>
    </p:spTree>
    <p:extLst>
      <p:ext uri="{BB962C8B-B14F-4D97-AF65-F5344CB8AC3E}">
        <p14:creationId xmlns:p14="http://schemas.microsoft.com/office/powerpoint/2010/main" val="3696742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nd Chart - LH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lgn="l">
              <a:defRPr sz="3000"/>
            </a:lvl1pPr>
          </a:lstStyle>
          <a:p>
            <a:pPr lvl="0"/>
            <a:r>
              <a:rPr lang="en-AU" noProof="0"/>
              <a:t>Click to add text</a:t>
            </a:r>
          </a:p>
        </p:txBody>
      </p:sp>
      <p:sp>
        <p:nvSpPr>
          <p:cNvPr id="6" name="Chart Placeholder 4">
            <a:extLst>
              <a:ext uri="{FF2B5EF4-FFF2-40B4-BE49-F238E27FC236}">
                <a16:creationId xmlns:a16="http://schemas.microsoft.com/office/drawing/2014/main" id="{A4C7EF1D-978F-2DFD-A769-63DFE7383A48}"/>
              </a:ext>
            </a:extLst>
          </p:cNvPr>
          <p:cNvSpPr>
            <a:spLocks noGrp="1"/>
          </p:cNvSpPr>
          <p:nvPr>
            <p:ph type="chart" sz="quarter" idx="13"/>
          </p:nvPr>
        </p:nvSpPr>
        <p:spPr>
          <a:xfrm>
            <a:off x="4441403" y="1592265"/>
            <a:ext cx="7056859" cy="4141786"/>
          </a:xfrm>
        </p:spPr>
        <p:txBody>
          <a:bodyPr bIns="900000" anchor="ctr">
            <a:noAutofit/>
          </a:bodyPr>
          <a:lstStyle>
            <a:lvl1pPr algn="ctr">
              <a:defRPr/>
            </a:lvl1pPr>
          </a:lstStyle>
          <a:p>
            <a:r>
              <a:rPr lang="en-US"/>
              <a:t>Click icon to add chart</a:t>
            </a:r>
            <a:endParaRPr lang="en-AU"/>
          </a:p>
        </p:txBody>
      </p:sp>
      <p:sp>
        <p:nvSpPr>
          <p:cNvPr id="12" name="Text Placeholder 2">
            <a:extLst>
              <a:ext uri="{FF2B5EF4-FFF2-40B4-BE49-F238E27FC236}">
                <a16:creationId xmlns:a16="http://schemas.microsoft.com/office/drawing/2014/main" id="{2BAB91C5-9AD6-E12E-71BA-8828E4B2EE9F}"/>
              </a:ext>
            </a:extLst>
          </p:cNvPr>
          <p:cNvSpPr>
            <a:spLocks noGrp="1"/>
          </p:cNvSpPr>
          <p:nvPr>
            <p:ph type="body" idx="14"/>
          </p:nvPr>
        </p:nvSpPr>
        <p:spPr>
          <a:xfrm>
            <a:off x="4441401" y="6094091"/>
            <a:ext cx="7121947" cy="144784"/>
          </a:xfrm>
          <a:noFill/>
        </p:spPr>
        <p:txBody>
          <a:bodyPr lIns="0" tIns="0" rIns="0" bIns="0" numCol="1" spcCol="0" anchor="t">
            <a:noAutofit/>
          </a:bodyPr>
          <a:lstStyle>
            <a:lvl1pPr marL="0" indent="0">
              <a:spcAft>
                <a:spcPts val="800"/>
              </a:spcAft>
              <a:buNone/>
              <a:defRPr lang="en-US" sz="1000" b="0" dirty="0" smtClean="0">
                <a:solidFill>
                  <a:schemeClr val="tx1"/>
                </a:solidFill>
                <a:latin typeface="Bahnschrift Ligh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16" name="Slide Number Placeholder 15">
            <a:extLst>
              <a:ext uri="{FF2B5EF4-FFF2-40B4-BE49-F238E27FC236}">
                <a16:creationId xmlns:a16="http://schemas.microsoft.com/office/drawing/2014/main" id="{6BC1800D-3EDA-0C70-A260-0D2CB1929711}"/>
              </a:ext>
            </a:extLst>
          </p:cNvPr>
          <p:cNvSpPr>
            <a:spLocks noGrp="1"/>
          </p:cNvSpPr>
          <p:nvPr>
            <p:ph type="sldNum" sz="quarter" idx="16"/>
          </p:nvPr>
        </p:nvSpPr>
        <p:spPr/>
        <p:txBody>
          <a:bodyPr/>
          <a:lstStyle/>
          <a:p>
            <a:fld id="{E917DE0E-AFB1-41FD-BC35-27DB61CA125F}" type="slidenum">
              <a:rPr lang="en-AU" smtClean="0"/>
              <a:pPr/>
              <a:t>‹#›</a:t>
            </a:fld>
            <a:endParaRPr lang="en-AU"/>
          </a:p>
        </p:txBody>
      </p:sp>
      <p:sp>
        <p:nvSpPr>
          <p:cNvPr id="3" name="Freeform 5">
            <a:extLst>
              <a:ext uri="{FF2B5EF4-FFF2-40B4-BE49-F238E27FC236}">
                <a16:creationId xmlns:a16="http://schemas.microsoft.com/office/drawing/2014/main" id="{47A8CBB4-7D18-94D9-73FB-AD4D8227688C}"/>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4" name="Straight Connector 3">
            <a:extLst>
              <a:ext uri="{FF2B5EF4-FFF2-40B4-BE49-F238E27FC236}">
                <a16:creationId xmlns:a16="http://schemas.microsoft.com/office/drawing/2014/main" id="{13D7A7D8-13DA-9191-864D-F9C9B1C6D421}"/>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Content Placeholder 3">
            <a:extLst>
              <a:ext uri="{FF2B5EF4-FFF2-40B4-BE49-F238E27FC236}">
                <a16:creationId xmlns:a16="http://schemas.microsoft.com/office/drawing/2014/main" id="{D37AA021-59FC-0D84-DB5E-EB49411A0708}"/>
              </a:ext>
            </a:extLst>
          </p:cNvPr>
          <p:cNvSpPr>
            <a:spLocks noGrp="1"/>
          </p:cNvSpPr>
          <p:nvPr>
            <p:ph sz="quarter" idx="15" hasCustomPrompt="1"/>
          </p:nvPr>
        </p:nvSpPr>
        <p:spPr>
          <a:xfrm>
            <a:off x="696913" y="1592264"/>
            <a:ext cx="2952402" cy="4681536"/>
          </a:xfrm>
        </p:spPr>
        <p:txBody>
          <a:bodyPr numCol="1" spcCol="0">
            <a:noAutofit/>
          </a:bodyPr>
          <a:lstStyle>
            <a:lvl1pPr>
              <a:spcBef>
                <a:spcPts val="1200"/>
              </a:spcBef>
              <a:spcAft>
                <a:spcPts val="600"/>
              </a:spcAft>
              <a:defRPr lang="en-US" dirty="0" smtClean="0"/>
            </a:lvl1pPr>
            <a:lvl2pPr>
              <a:defRPr lang="en-US" dirty="0"/>
            </a:lvl2pPr>
            <a:lvl3pPr>
              <a:defRPr lang="en-US" dirty="0"/>
            </a:lvl3pPr>
            <a:lvl4pPr>
              <a:defRPr lang="en-US" sz="1400" dirty="0">
                <a:solidFill>
                  <a:schemeClr val="tx1"/>
                </a:solidFill>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dirty="0" smtClean="0"/>
            </a:lvl5pPr>
            <a:lvl6pPr>
              <a:defRPr lang="en-US" sz="1100" dirty="0" smtClean="0"/>
            </a:lvl6pPr>
            <a:lvl7pPr>
              <a:defRPr/>
            </a:lvl7pPr>
            <a:lvl8pPr>
              <a:defRPr/>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7" name="Footer Placeholder 6">
            <a:extLst>
              <a:ext uri="{FF2B5EF4-FFF2-40B4-BE49-F238E27FC236}">
                <a16:creationId xmlns:a16="http://schemas.microsoft.com/office/drawing/2014/main" id="{68665ACA-6406-9F81-C86E-5B330606A8FD}"/>
              </a:ext>
            </a:extLst>
          </p:cNvPr>
          <p:cNvSpPr>
            <a:spLocks noGrp="1"/>
          </p:cNvSpPr>
          <p:nvPr>
            <p:ph type="ftr" sz="quarter" idx="17"/>
          </p:nvPr>
        </p:nvSpPr>
        <p:spPr/>
        <p:txBody>
          <a:bodyPr/>
          <a:lstStyle/>
          <a:p>
            <a:endParaRPr lang="en-AU"/>
          </a:p>
        </p:txBody>
      </p:sp>
    </p:spTree>
    <p:extLst>
      <p:ext uri="{BB962C8B-B14F-4D97-AF65-F5344CB8AC3E}">
        <p14:creationId xmlns:p14="http://schemas.microsoft.com/office/powerpoint/2010/main" val="1357832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nd Chart - RHS">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4AC860EB-06C3-82A5-E169-F89C33D07E0C}"/>
              </a:ext>
            </a:extLst>
          </p:cNvPr>
          <p:cNvSpPr>
            <a:spLocks noGrp="1"/>
          </p:cNvSpPr>
          <p:nvPr>
            <p:ph sz="quarter" idx="25" hasCustomPrompt="1"/>
          </p:nvPr>
        </p:nvSpPr>
        <p:spPr>
          <a:xfrm>
            <a:off x="4791809" y="1592264"/>
            <a:ext cx="6706454" cy="4681536"/>
          </a:xfrm>
        </p:spPr>
        <p:txBody>
          <a:bodyPr numCol="1" spcCol="0">
            <a:noAutofit/>
          </a:bodyPr>
          <a:lstStyle>
            <a:lvl1pPr>
              <a:spcBef>
                <a:spcPts val="1200"/>
              </a:spcBef>
              <a:spcAft>
                <a:spcPts val="600"/>
              </a:spcAft>
              <a:defRPr lang="en-US" dirty="0" smtClean="0"/>
            </a:lvl1pPr>
            <a:lvl2pPr>
              <a:defRPr lang="en-US" dirty="0"/>
            </a:lvl2pPr>
            <a:lvl3pPr>
              <a:defRPr lang="en-US" dirty="0"/>
            </a:lvl3pPr>
            <a:lvl4pPr>
              <a:defRPr lang="en-US" dirty="0"/>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dirty="0" smtClean="0"/>
            </a:lvl5pPr>
            <a:lvl6pPr>
              <a:defRPr lang="en-US" dirty="0" smtClean="0"/>
            </a:lvl6pPr>
            <a:lvl7pPr>
              <a:defRPr/>
            </a:lvl7pPr>
            <a:lvl8pPr>
              <a:defRPr/>
            </a:lvl8pPr>
            <a:lvl9pPr>
              <a:defRPr/>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6" name="Text Placeholder 2">
            <a:extLst>
              <a:ext uri="{FF2B5EF4-FFF2-40B4-BE49-F238E27FC236}">
                <a16:creationId xmlns:a16="http://schemas.microsoft.com/office/drawing/2014/main" id="{4D620F57-DB58-1BE9-5237-B53FCDB8940F}"/>
              </a:ext>
            </a:extLst>
          </p:cNvPr>
          <p:cNvSpPr>
            <a:spLocks noGrp="1"/>
          </p:cNvSpPr>
          <p:nvPr>
            <p:ph type="body" idx="11"/>
          </p:nvPr>
        </p:nvSpPr>
        <p:spPr>
          <a:xfrm>
            <a:off x="696911" y="549275"/>
            <a:ext cx="3600453" cy="395923"/>
          </a:xfrm>
          <a:noFill/>
        </p:spPr>
        <p:txBody>
          <a:bodyPr lIns="0" tIns="0" rIns="0" bIns="0" numCol="1" spcCol="0" anchor="t">
            <a:noAutofit/>
          </a:bodyPr>
          <a:lstStyle>
            <a:lvl1pPr marL="0" indent="0">
              <a:spcAft>
                <a:spcPts val="1000"/>
              </a:spcAft>
              <a:buNone/>
              <a:defRPr lang="en-US" sz="2000" b="0" dirty="0" smtClean="0">
                <a:solidFill>
                  <a:schemeClr val="tx1"/>
                </a:solidFill>
                <a:latin typeface="+mj-lt"/>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7" name="Text Placeholder 2">
            <a:extLst>
              <a:ext uri="{FF2B5EF4-FFF2-40B4-BE49-F238E27FC236}">
                <a16:creationId xmlns:a16="http://schemas.microsoft.com/office/drawing/2014/main" id="{DE4D58C9-76F7-66B9-4FD3-E7C37AA04A6F}"/>
              </a:ext>
            </a:extLst>
          </p:cNvPr>
          <p:cNvSpPr>
            <a:spLocks noGrp="1"/>
          </p:cNvSpPr>
          <p:nvPr>
            <p:ph type="body" idx="12"/>
          </p:nvPr>
        </p:nvSpPr>
        <p:spPr>
          <a:xfrm>
            <a:off x="4787046" y="549275"/>
            <a:ext cx="6711217" cy="395923"/>
          </a:xfrm>
          <a:noFill/>
        </p:spPr>
        <p:txBody>
          <a:bodyPr lIns="0" tIns="0" rIns="0" bIns="0" numCol="1" spcCol="0" anchor="t">
            <a:noAutofit/>
          </a:bodyPr>
          <a:lstStyle>
            <a:lvl1pPr marL="0" indent="0">
              <a:spcAft>
                <a:spcPts val="1000"/>
              </a:spcAft>
              <a:buNone/>
              <a:defRPr lang="en-US" sz="2000" b="0" dirty="0" smtClean="0">
                <a:solidFill>
                  <a:schemeClr val="tx1"/>
                </a:solidFill>
                <a:latin typeface="+mj-lt"/>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16" name="Chart Placeholder 15">
            <a:extLst>
              <a:ext uri="{FF2B5EF4-FFF2-40B4-BE49-F238E27FC236}">
                <a16:creationId xmlns:a16="http://schemas.microsoft.com/office/drawing/2014/main" id="{59B51F9F-5A24-1666-7AD7-643E20C84829}"/>
              </a:ext>
            </a:extLst>
          </p:cNvPr>
          <p:cNvSpPr>
            <a:spLocks noGrp="1"/>
          </p:cNvSpPr>
          <p:nvPr>
            <p:ph type="chart" sz="quarter" idx="20"/>
          </p:nvPr>
        </p:nvSpPr>
        <p:spPr>
          <a:xfrm>
            <a:off x="696913" y="1592264"/>
            <a:ext cx="3600452" cy="4681536"/>
          </a:xfrm>
        </p:spPr>
        <p:txBody>
          <a:bodyPr bIns="900000" anchor="ctr">
            <a:noAutofit/>
          </a:bodyPr>
          <a:lstStyle>
            <a:lvl1pPr algn="ctr">
              <a:defRPr/>
            </a:lvl1pPr>
          </a:lstStyle>
          <a:p>
            <a:r>
              <a:rPr lang="en-US"/>
              <a:t>Click icon to add chart</a:t>
            </a:r>
            <a:endParaRPr lang="en-AU"/>
          </a:p>
        </p:txBody>
      </p:sp>
      <p:sp>
        <p:nvSpPr>
          <p:cNvPr id="20" name="Slide Number Placeholder 19">
            <a:extLst>
              <a:ext uri="{FF2B5EF4-FFF2-40B4-BE49-F238E27FC236}">
                <a16:creationId xmlns:a16="http://schemas.microsoft.com/office/drawing/2014/main" id="{689EC88F-6DA3-7DE1-6671-6EDCEA78F79A}"/>
              </a:ext>
            </a:extLst>
          </p:cNvPr>
          <p:cNvSpPr>
            <a:spLocks noGrp="1"/>
          </p:cNvSpPr>
          <p:nvPr>
            <p:ph type="sldNum" sz="quarter" idx="22"/>
          </p:nvPr>
        </p:nvSpPr>
        <p:spPr/>
        <p:txBody>
          <a:bodyPr/>
          <a:lstStyle/>
          <a:p>
            <a:fld id="{E917DE0E-AFB1-41FD-BC35-27DB61CA125F}" type="slidenum">
              <a:rPr lang="en-AU" smtClean="0"/>
              <a:pPr/>
              <a:t>‹#›</a:t>
            </a:fld>
            <a:endParaRPr lang="en-AU"/>
          </a:p>
        </p:txBody>
      </p:sp>
      <p:sp>
        <p:nvSpPr>
          <p:cNvPr id="2" name="Freeform 5">
            <a:extLst>
              <a:ext uri="{FF2B5EF4-FFF2-40B4-BE49-F238E27FC236}">
                <a16:creationId xmlns:a16="http://schemas.microsoft.com/office/drawing/2014/main" id="{608AFC7E-CD94-04A8-A800-297B5695C9AC}"/>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3" name="Straight Connector 2">
            <a:extLst>
              <a:ext uri="{FF2B5EF4-FFF2-40B4-BE49-F238E27FC236}">
                <a16:creationId xmlns:a16="http://schemas.microsoft.com/office/drawing/2014/main" id="{E17C52F5-EC1E-8FCE-246A-839ED8F47D62}"/>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0AF8D9DA-7E3A-6F3C-01D6-A3B0E241CE1B}"/>
              </a:ext>
            </a:extLst>
          </p:cNvPr>
          <p:cNvSpPr>
            <a:spLocks noGrp="1"/>
          </p:cNvSpPr>
          <p:nvPr>
            <p:ph type="ftr" sz="quarter" idx="26"/>
          </p:nvPr>
        </p:nvSpPr>
        <p:spPr/>
        <p:txBody>
          <a:bodyPr/>
          <a:lstStyle/>
          <a:p>
            <a:endParaRPr lang="en-AU"/>
          </a:p>
        </p:txBody>
      </p:sp>
    </p:spTree>
    <p:extLst>
      <p:ext uri="{BB962C8B-B14F-4D97-AF65-F5344CB8AC3E}">
        <p14:creationId xmlns:p14="http://schemas.microsoft.com/office/powerpoint/2010/main" val="404978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lgn="ctr">
              <a:defRPr sz="3000"/>
            </a:lvl1pPr>
          </a:lstStyle>
          <a:p>
            <a:pPr lvl="0"/>
            <a:r>
              <a:rPr lang="en-AU" noProof="0"/>
              <a:t>Click to add text</a:t>
            </a:r>
          </a:p>
        </p:txBody>
      </p:sp>
      <p:sp>
        <p:nvSpPr>
          <p:cNvPr id="11" name="Text Placeholder 2">
            <a:extLst>
              <a:ext uri="{FF2B5EF4-FFF2-40B4-BE49-F238E27FC236}">
                <a16:creationId xmlns:a16="http://schemas.microsoft.com/office/drawing/2014/main" id="{30305F7A-6E67-6D92-62CD-B0B2C2EBE9F3}"/>
              </a:ext>
            </a:extLst>
          </p:cNvPr>
          <p:cNvSpPr>
            <a:spLocks noGrp="1"/>
          </p:cNvSpPr>
          <p:nvPr>
            <p:ph type="body" idx="14"/>
          </p:nvPr>
        </p:nvSpPr>
        <p:spPr>
          <a:xfrm>
            <a:off x="696987" y="6125402"/>
            <a:ext cx="10801276" cy="144784"/>
          </a:xfrm>
          <a:noFill/>
        </p:spPr>
        <p:txBody>
          <a:bodyPr lIns="0" tIns="0" rIns="0" bIns="0" numCol="1" spcCol="0" anchor="t">
            <a:noAutofit/>
          </a:bodyPr>
          <a:lstStyle>
            <a:lvl1pPr marL="0" indent="0">
              <a:spcAft>
                <a:spcPts val="800"/>
              </a:spcAft>
              <a:buNone/>
              <a:defRPr lang="en-US" sz="1000" b="0" dirty="0" smtClean="0">
                <a:solidFill>
                  <a:schemeClr val="tx1"/>
                </a:solidFill>
                <a:latin typeface="Bahnschrift Ligh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12" name="Chart Placeholder 9">
            <a:extLst>
              <a:ext uri="{FF2B5EF4-FFF2-40B4-BE49-F238E27FC236}">
                <a16:creationId xmlns:a16="http://schemas.microsoft.com/office/drawing/2014/main" id="{592208AF-F094-75F8-7E96-175C257CC808}"/>
              </a:ext>
            </a:extLst>
          </p:cNvPr>
          <p:cNvSpPr>
            <a:spLocks noGrp="1"/>
          </p:cNvSpPr>
          <p:nvPr>
            <p:ph type="chart" sz="quarter" idx="16"/>
          </p:nvPr>
        </p:nvSpPr>
        <p:spPr>
          <a:xfrm>
            <a:off x="696913" y="1269554"/>
            <a:ext cx="5124450" cy="4719765"/>
          </a:xfrm>
        </p:spPr>
        <p:txBody>
          <a:bodyPr bIns="900000" anchor="ctr">
            <a:noAutofit/>
          </a:bodyPr>
          <a:lstStyle>
            <a:lvl1pPr algn="ctr">
              <a:defRPr sz="1400" b="0">
                <a:latin typeface="+mn-lt"/>
              </a:defRPr>
            </a:lvl1pPr>
          </a:lstStyle>
          <a:p>
            <a:r>
              <a:rPr lang="en-US"/>
              <a:t>Click icon to add chart</a:t>
            </a:r>
            <a:endParaRPr lang="en-AU"/>
          </a:p>
        </p:txBody>
      </p:sp>
      <p:sp>
        <p:nvSpPr>
          <p:cNvPr id="14" name="Chart Placeholder 9">
            <a:extLst>
              <a:ext uri="{FF2B5EF4-FFF2-40B4-BE49-F238E27FC236}">
                <a16:creationId xmlns:a16="http://schemas.microsoft.com/office/drawing/2014/main" id="{7FFAD0C7-4D44-8CF6-135D-4F306ED614A7}"/>
              </a:ext>
            </a:extLst>
          </p:cNvPr>
          <p:cNvSpPr>
            <a:spLocks noGrp="1"/>
          </p:cNvSpPr>
          <p:nvPr>
            <p:ph type="chart" sz="quarter" idx="17"/>
          </p:nvPr>
        </p:nvSpPr>
        <p:spPr>
          <a:xfrm>
            <a:off x="6373813" y="1269554"/>
            <a:ext cx="5124449" cy="4719765"/>
          </a:xfrm>
        </p:spPr>
        <p:txBody>
          <a:bodyPr bIns="900000" anchor="ctr">
            <a:noAutofit/>
          </a:bodyPr>
          <a:lstStyle>
            <a:lvl1pPr algn="ctr">
              <a:defRPr sz="1400" b="0">
                <a:latin typeface="+mn-lt"/>
              </a:defRPr>
            </a:lvl1pPr>
          </a:lstStyle>
          <a:p>
            <a:r>
              <a:rPr lang="en-US"/>
              <a:t>Click icon to add chart</a:t>
            </a:r>
            <a:endParaRPr lang="en-AU"/>
          </a:p>
        </p:txBody>
      </p:sp>
      <p:sp>
        <p:nvSpPr>
          <p:cNvPr id="20" name="Slide Number Placeholder 19">
            <a:extLst>
              <a:ext uri="{FF2B5EF4-FFF2-40B4-BE49-F238E27FC236}">
                <a16:creationId xmlns:a16="http://schemas.microsoft.com/office/drawing/2014/main" id="{46DED782-C3C2-1BE8-F36E-0CFDCBD14414}"/>
              </a:ext>
            </a:extLst>
          </p:cNvPr>
          <p:cNvSpPr>
            <a:spLocks noGrp="1"/>
          </p:cNvSpPr>
          <p:nvPr>
            <p:ph type="sldNum" sz="quarter" idx="19"/>
          </p:nvPr>
        </p:nvSpPr>
        <p:spPr/>
        <p:txBody>
          <a:bodyPr/>
          <a:lstStyle/>
          <a:p>
            <a:fld id="{E917DE0E-AFB1-41FD-BC35-27DB61CA125F}" type="slidenum">
              <a:rPr lang="en-AU" smtClean="0"/>
              <a:pPr/>
              <a:t>‹#›</a:t>
            </a:fld>
            <a:endParaRPr lang="en-AU"/>
          </a:p>
        </p:txBody>
      </p:sp>
      <p:sp>
        <p:nvSpPr>
          <p:cNvPr id="3" name="Freeform 5">
            <a:extLst>
              <a:ext uri="{FF2B5EF4-FFF2-40B4-BE49-F238E27FC236}">
                <a16:creationId xmlns:a16="http://schemas.microsoft.com/office/drawing/2014/main" id="{657BFFC4-FFD2-D942-8EB0-E88B36465BF9}"/>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4" name="Straight Connector 3">
            <a:extLst>
              <a:ext uri="{FF2B5EF4-FFF2-40B4-BE49-F238E27FC236}">
                <a16:creationId xmlns:a16="http://schemas.microsoft.com/office/drawing/2014/main" id="{C32758F0-56F3-86EC-C005-E8797FE9337E}"/>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A335B0F-A2D0-2763-1A6D-227E99FFED32}"/>
              </a:ext>
            </a:extLst>
          </p:cNvPr>
          <p:cNvSpPr>
            <a:spLocks noGrp="1"/>
          </p:cNvSpPr>
          <p:nvPr>
            <p:ph type="ftr" sz="quarter" idx="20"/>
          </p:nvPr>
        </p:nvSpPr>
        <p:spPr/>
        <p:txBody>
          <a:bodyPr/>
          <a:lstStyle/>
          <a:p>
            <a:endParaRPr lang="en-AU"/>
          </a:p>
        </p:txBody>
      </p:sp>
    </p:spTree>
    <p:extLst>
      <p:ext uri="{BB962C8B-B14F-4D97-AF65-F5344CB8AC3E}">
        <p14:creationId xmlns:p14="http://schemas.microsoft.com/office/powerpoint/2010/main" val="52277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lgn="ctr">
              <a:defRPr sz="3000"/>
            </a:lvl1pPr>
          </a:lstStyle>
          <a:p>
            <a:pPr lvl="0"/>
            <a:r>
              <a:rPr lang="en-AU" noProof="0"/>
              <a:t>Click to add text</a:t>
            </a:r>
          </a:p>
        </p:txBody>
      </p:sp>
      <p:sp>
        <p:nvSpPr>
          <p:cNvPr id="11" name="Text Placeholder 2">
            <a:extLst>
              <a:ext uri="{FF2B5EF4-FFF2-40B4-BE49-F238E27FC236}">
                <a16:creationId xmlns:a16="http://schemas.microsoft.com/office/drawing/2014/main" id="{30305F7A-6E67-6D92-62CD-B0B2C2EBE9F3}"/>
              </a:ext>
            </a:extLst>
          </p:cNvPr>
          <p:cNvSpPr>
            <a:spLocks noGrp="1"/>
          </p:cNvSpPr>
          <p:nvPr>
            <p:ph type="body" idx="14"/>
          </p:nvPr>
        </p:nvSpPr>
        <p:spPr>
          <a:xfrm>
            <a:off x="696913" y="6126903"/>
            <a:ext cx="10801350" cy="144784"/>
          </a:xfrm>
          <a:noFill/>
        </p:spPr>
        <p:txBody>
          <a:bodyPr lIns="0" tIns="0" rIns="0" bIns="0" numCol="1" spcCol="0" anchor="t">
            <a:noAutofit/>
          </a:bodyPr>
          <a:lstStyle>
            <a:lvl1pPr marL="0" indent="0">
              <a:spcAft>
                <a:spcPts val="800"/>
              </a:spcAft>
              <a:buNone/>
              <a:defRPr lang="en-US" sz="1000" b="0" dirty="0" smtClean="0">
                <a:solidFill>
                  <a:schemeClr val="tx1"/>
                </a:solidFill>
                <a:latin typeface="Bahnschrift Light SemiCondensed" panose="020B0502040204020203" pitchFamily="34" charset="0"/>
              </a:defRPr>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en-US" noProof="0"/>
              <a:t>Click to edit Master text styles</a:t>
            </a:r>
          </a:p>
        </p:txBody>
      </p:sp>
      <p:sp>
        <p:nvSpPr>
          <p:cNvPr id="18" name="Slide Number Placeholder 17">
            <a:extLst>
              <a:ext uri="{FF2B5EF4-FFF2-40B4-BE49-F238E27FC236}">
                <a16:creationId xmlns:a16="http://schemas.microsoft.com/office/drawing/2014/main" id="{72A8A901-7EDA-630C-EE28-AB0F8C40BD53}"/>
              </a:ext>
            </a:extLst>
          </p:cNvPr>
          <p:cNvSpPr>
            <a:spLocks noGrp="1"/>
          </p:cNvSpPr>
          <p:nvPr>
            <p:ph type="sldNum" sz="quarter" idx="22"/>
          </p:nvPr>
        </p:nvSpPr>
        <p:spPr/>
        <p:txBody>
          <a:bodyPr/>
          <a:lstStyle/>
          <a:p>
            <a:fld id="{E917DE0E-AFB1-41FD-BC35-27DB61CA125F}" type="slidenum">
              <a:rPr lang="en-AU" smtClean="0"/>
              <a:pPr/>
              <a:t>‹#›</a:t>
            </a:fld>
            <a:endParaRPr lang="en-AU"/>
          </a:p>
        </p:txBody>
      </p:sp>
      <p:sp>
        <p:nvSpPr>
          <p:cNvPr id="3" name="Chart Placeholder 9">
            <a:extLst>
              <a:ext uri="{FF2B5EF4-FFF2-40B4-BE49-F238E27FC236}">
                <a16:creationId xmlns:a16="http://schemas.microsoft.com/office/drawing/2014/main" id="{A30A85B1-7A7C-48CF-59B6-148D66CA6887}"/>
              </a:ext>
            </a:extLst>
          </p:cNvPr>
          <p:cNvSpPr>
            <a:spLocks noGrp="1"/>
          </p:cNvSpPr>
          <p:nvPr>
            <p:ph type="chart" sz="quarter" idx="16"/>
          </p:nvPr>
        </p:nvSpPr>
        <p:spPr>
          <a:xfrm>
            <a:off x="696912" y="1229475"/>
            <a:ext cx="5206797" cy="2237602"/>
          </a:xfrm>
          <a:prstGeom prst="rect">
            <a:avLst/>
          </a:prstGeom>
        </p:spPr>
        <p:txBody>
          <a:bodyPr anchor="ctr">
            <a:noAutofit/>
          </a:bodyPr>
          <a:lstStyle>
            <a:lvl5pPr algn="ctr">
              <a:defRPr/>
            </a:lvl5pPr>
          </a:lstStyle>
          <a:p>
            <a:pPr lvl="4"/>
            <a:r>
              <a:rPr lang="en-US"/>
              <a:t>Click icon to add chart</a:t>
            </a:r>
            <a:endParaRPr lang="en-AU"/>
          </a:p>
        </p:txBody>
      </p:sp>
      <p:sp>
        <p:nvSpPr>
          <p:cNvPr id="4" name="Chart Placeholder 9">
            <a:extLst>
              <a:ext uri="{FF2B5EF4-FFF2-40B4-BE49-F238E27FC236}">
                <a16:creationId xmlns:a16="http://schemas.microsoft.com/office/drawing/2014/main" id="{0C423B85-159C-B0DC-67C9-392940337F04}"/>
              </a:ext>
            </a:extLst>
          </p:cNvPr>
          <p:cNvSpPr>
            <a:spLocks noGrp="1"/>
          </p:cNvSpPr>
          <p:nvPr>
            <p:ph type="chart" sz="quarter" idx="18"/>
          </p:nvPr>
        </p:nvSpPr>
        <p:spPr>
          <a:xfrm>
            <a:off x="696912" y="3727176"/>
            <a:ext cx="5206797" cy="2237602"/>
          </a:xfrm>
          <a:prstGeom prst="rect">
            <a:avLst/>
          </a:prstGeom>
        </p:spPr>
        <p:txBody>
          <a:bodyPr anchor="ctr">
            <a:noAutofit/>
          </a:bodyPr>
          <a:lstStyle>
            <a:lvl5pPr algn="ctr">
              <a:defRPr/>
            </a:lvl5pPr>
          </a:lstStyle>
          <a:p>
            <a:pPr lvl="4"/>
            <a:r>
              <a:rPr lang="en-US"/>
              <a:t>Click icon to add chart</a:t>
            </a:r>
            <a:endParaRPr lang="en-AU"/>
          </a:p>
        </p:txBody>
      </p:sp>
      <p:sp>
        <p:nvSpPr>
          <p:cNvPr id="6" name="Chart Placeholder 9">
            <a:extLst>
              <a:ext uri="{FF2B5EF4-FFF2-40B4-BE49-F238E27FC236}">
                <a16:creationId xmlns:a16="http://schemas.microsoft.com/office/drawing/2014/main" id="{E3D79FB6-38F8-9B59-21CD-F63121B561F9}"/>
              </a:ext>
            </a:extLst>
          </p:cNvPr>
          <p:cNvSpPr>
            <a:spLocks noGrp="1"/>
          </p:cNvSpPr>
          <p:nvPr>
            <p:ph type="chart" sz="quarter" idx="19"/>
          </p:nvPr>
        </p:nvSpPr>
        <p:spPr>
          <a:xfrm>
            <a:off x="6291466" y="1229475"/>
            <a:ext cx="5206797" cy="2237602"/>
          </a:xfrm>
          <a:prstGeom prst="rect">
            <a:avLst/>
          </a:prstGeom>
        </p:spPr>
        <p:txBody>
          <a:bodyPr anchor="ctr">
            <a:noAutofit/>
          </a:bodyPr>
          <a:lstStyle>
            <a:lvl5pPr algn="ctr">
              <a:defRPr/>
            </a:lvl5pPr>
          </a:lstStyle>
          <a:p>
            <a:pPr lvl="4"/>
            <a:r>
              <a:rPr lang="en-US"/>
              <a:t>Click icon to add chart</a:t>
            </a:r>
            <a:endParaRPr lang="en-AU"/>
          </a:p>
        </p:txBody>
      </p:sp>
      <p:sp>
        <p:nvSpPr>
          <p:cNvPr id="7" name="Chart Placeholder 9">
            <a:extLst>
              <a:ext uri="{FF2B5EF4-FFF2-40B4-BE49-F238E27FC236}">
                <a16:creationId xmlns:a16="http://schemas.microsoft.com/office/drawing/2014/main" id="{57685801-BED1-3B9C-85A4-F88827972B60}"/>
              </a:ext>
            </a:extLst>
          </p:cNvPr>
          <p:cNvSpPr>
            <a:spLocks noGrp="1"/>
          </p:cNvSpPr>
          <p:nvPr>
            <p:ph type="chart" sz="quarter" idx="20"/>
          </p:nvPr>
        </p:nvSpPr>
        <p:spPr>
          <a:xfrm>
            <a:off x="6291466" y="3727176"/>
            <a:ext cx="5206797" cy="2237602"/>
          </a:xfrm>
          <a:prstGeom prst="rect">
            <a:avLst/>
          </a:prstGeom>
        </p:spPr>
        <p:txBody>
          <a:bodyPr anchor="ctr">
            <a:noAutofit/>
          </a:bodyPr>
          <a:lstStyle>
            <a:lvl5pPr algn="ctr">
              <a:defRPr/>
            </a:lvl5pPr>
          </a:lstStyle>
          <a:p>
            <a:pPr lvl="4"/>
            <a:r>
              <a:rPr lang="en-US"/>
              <a:t>Click icon to add chart</a:t>
            </a:r>
            <a:endParaRPr lang="en-AU"/>
          </a:p>
        </p:txBody>
      </p:sp>
      <p:sp>
        <p:nvSpPr>
          <p:cNvPr id="5" name="Freeform 5">
            <a:extLst>
              <a:ext uri="{FF2B5EF4-FFF2-40B4-BE49-F238E27FC236}">
                <a16:creationId xmlns:a16="http://schemas.microsoft.com/office/drawing/2014/main" id="{6291E1F0-3743-53CB-90CE-15CBAC684231}"/>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8" name="Straight Connector 7">
            <a:extLst>
              <a:ext uri="{FF2B5EF4-FFF2-40B4-BE49-F238E27FC236}">
                <a16:creationId xmlns:a16="http://schemas.microsoft.com/office/drawing/2014/main" id="{C5A70730-266D-9ECA-F8CD-A042EC2AF293}"/>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46A2D09D-5C6D-A84F-CD20-4A3BFAC7292F}"/>
              </a:ext>
            </a:extLst>
          </p:cNvPr>
          <p:cNvSpPr>
            <a:spLocks noGrp="1"/>
          </p:cNvSpPr>
          <p:nvPr>
            <p:ph type="ftr" sz="quarter" idx="23"/>
          </p:nvPr>
        </p:nvSpPr>
        <p:spPr/>
        <p:txBody>
          <a:bodyPr/>
          <a:lstStyle/>
          <a:p>
            <a:endParaRPr lang="en-AU"/>
          </a:p>
        </p:txBody>
      </p:sp>
    </p:spTree>
    <p:extLst>
      <p:ext uri="{BB962C8B-B14F-4D97-AF65-F5344CB8AC3E}">
        <p14:creationId xmlns:p14="http://schemas.microsoft.com/office/powerpoint/2010/main" val="367433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x 2">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96913" y="1592262"/>
            <a:ext cx="5254639" cy="4681537"/>
          </a:xfrm>
        </p:spPr>
        <p:txBody>
          <a:bodyPr>
            <a:noAutofit/>
          </a:bodyPr>
          <a:lstStyle>
            <a:lvl1pPr>
              <a:defRPr lang="en-AU" noProof="0" dirty="0" smtClean="0"/>
            </a:lvl1pPr>
            <a:lvl2pPr>
              <a:defRPr lang="en-AU" noProof="0" dirty="0" smtClean="0"/>
            </a:lvl2pPr>
            <a:lvl3pPr>
              <a:defRPr lang="en-AU" noProof="0" dirty="0" smtClean="0"/>
            </a:lvl3pPr>
            <a:lvl4pPr>
              <a:defRPr lang="en-AU" noProof="0" dirty="0" smtClean="0"/>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AU" noProof="0" dirty="0" smtClean="0"/>
            </a:lvl5pPr>
            <a:lvl6pPr>
              <a:defRPr lang="en-AU" noProof="0" dirty="0" smtClean="0"/>
            </a:lvl6pPr>
            <a:lvl7pPr>
              <a:defRPr lang="en-AU" noProof="0" dirty="0" smtClean="0"/>
            </a:lvl7pPr>
            <a:lvl8pPr>
              <a:defRPr lang="en-AU" noProof="0" dirty="0" smtClean="0"/>
            </a:lvl8pPr>
            <a:lvl9pPr>
              <a:defRPr lang="en-AU" noProof="0" dirty="0"/>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4" name="Content Placeholder 3"/>
          <p:cNvSpPr>
            <a:spLocks noGrp="1"/>
          </p:cNvSpPr>
          <p:nvPr>
            <p:ph sz="half" idx="2" hasCustomPrompt="1"/>
          </p:nvPr>
        </p:nvSpPr>
        <p:spPr>
          <a:xfrm>
            <a:off x="6241604" y="1592262"/>
            <a:ext cx="5254640" cy="4681537"/>
          </a:xfrm>
        </p:spPr>
        <p:txBody>
          <a:bodyPr>
            <a:noAutofit/>
          </a:bodyPr>
          <a:lstStyle>
            <a:lvl1pPr>
              <a:defRPr lang="en-AU" noProof="0" dirty="0" smtClean="0"/>
            </a:lvl1pPr>
            <a:lvl2pPr>
              <a:defRPr lang="en-AU" noProof="0" dirty="0" smtClean="0"/>
            </a:lvl2pPr>
            <a:lvl3pPr>
              <a:defRPr lang="en-AU" noProof="0" dirty="0" smtClean="0"/>
            </a:lvl3pPr>
            <a:lvl4pPr>
              <a:defRPr lang="en-AU" noProof="0" dirty="0" smtClean="0"/>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AU" noProof="0" dirty="0" smtClean="0"/>
            </a:lvl5pPr>
            <a:lvl6pPr>
              <a:defRPr lang="en-AU" noProof="0" dirty="0" smtClean="0"/>
            </a:lvl6pPr>
            <a:lvl7pPr>
              <a:defRPr lang="en-AU" noProof="0" dirty="0" smtClean="0"/>
            </a:lvl7pPr>
            <a:lvl8pPr>
              <a:defRPr lang="en-AU" noProof="0" dirty="0" smtClean="0"/>
            </a:lvl8pPr>
            <a:lvl9pPr>
              <a:defRPr lang="en-AU" noProof="0" dirty="0"/>
            </a:lvl9p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5" name="Title 4"/>
          <p:cNvSpPr>
            <a:spLocks noGrp="1"/>
          </p:cNvSpPr>
          <p:nvPr>
            <p:ph type="title" hasCustomPrompt="1"/>
          </p:nvPr>
        </p:nvSpPr>
        <p:spPr/>
        <p:txBody>
          <a:bodyPr>
            <a:noAutofit/>
          </a:bodyPr>
          <a:lstStyle>
            <a:lvl1pPr>
              <a:defRPr/>
            </a:lvl1pPr>
          </a:lstStyle>
          <a:p>
            <a:pPr lvl="0"/>
            <a:r>
              <a:rPr lang="en-AU" noProof="0"/>
              <a:t>Click to add text</a:t>
            </a:r>
          </a:p>
        </p:txBody>
      </p:sp>
      <p:sp>
        <p:nvSpPr>
          <p:cNvPr id="8" name="Slide Number Placeholder 7">
            <a:extLst>
              <a:ext uri="{FF2B5EF4-FFF2-40B4-BE49-F238E27FC236}">
                <a16:creationId xmlns:a16="http://schemas.microsoft.com/office/drawing/2014/main" id="{9E18A272-5656-27C0-0843-D4A17E32B9D6}"/>
              </a:ext>
            </a:extLst>
          </p:cNvPr>
          <p:cNvSpPr>
            <a:spLocks noGrp="1"/>
          </p:cNvSpPr>
          <p:nvPr>
            <p:ph type="sldNum" sz="quarter" idx="11"/>
          </p:nvPr>
        </p:nvSpPr>
        <p:spPr/>
        <p:txBody>
          <a:bodyPr/>
          <a:lstStyle/>
          <a:p>
            <a:fld id="{E917DE0E-AFB1-41FD-BC35-27DB61CA125F}" type="slidenum">
              <a:rPr lang="en-AU" smtClean="0"/>
              <a:pPr/>
              <a:t>‹#›</a:t>
            </a:fld>
            <a:endParaRPr lang="en-AU"/>
          </a:p>
        </p:txBody>
      </p:sp>
      <p:sp>
        <p:nvSpPr>
          <p:cNvPr id="9" name="Freeform 5">
            <a:extLst>
              <a:ext uri="{FF2B5EF4-FFF2-40B4-BE49-F238E27FC236}">
                <a16:creationId xmlns:a16="http://schemas.microsoft.com/office/drawing/2014/main" id="{23DE8340-7AF2-108C-01B4-5C38A9D398F9}"/>
              </a:ext>
            </a:extLst>
          </p:cNvPr>
          <p:cNvSpPr/>
          <p:nvPr userDrawn="1"/>
        </p:nvSpPr>
        <p:spPr>
          <a:xfrm>
            <a:off x="11085885" y="6628288"/>
            <a:ext cx="325716" cy="145652"/>
          </a:xfrm>
          <a:custGeom>
            <a:avLst/>
            <a:gdLst>
              <a:gd name="connsiteX0" fmla="*/ 139700 w 258445"/>
              <a:gd name="connsiteY0" fmla="*/ 115570 h 115570"/>
              <a:gd name="connsiteX1" fmla="*/ 133350 w 258445"/>
              <a:gd name="connsiteY1" fmla="*/ 115570 h 115570"/>
              <a:gd name="connsiteX2" fmla="*/ 81915 w 258445"/>
              <a:gd name="connsiteY2" fmla="*/ 97155 h 115570"/>
              <a:gd name="connsiteX3" fmla="*/ 64136 w 258445"/>
              <a:gd name="connsiteY3" fmla="*/ 86995 h 115570"/>
              <a:gd name="connsiteX4" fmla="*/ 46355 w 258445"/>
              <a:gd name="connsiteY4" fmla="*/ 90170 h 115570"/>
              <a:gd name="connsiteX5" fmla="*/ 10795 w 258445"/>
              <a:gd name="connsiteY5" fmla="*/ 74930 h 115570"/>
              <a:gd name="connsiteX6" fmla="*/ 0 w 258445"/>
              <a:gd name="connsiteY6" fmla="*/ 44450 h 115570"/>
              <a:gd name="connsiteX7" fmla="*/ 46990 w 258445"/>
              <a:gd name="connsiteY7" fmla="*/ 0 h 115570"/>
              <a:gd name="connsiteX8" fmla="*/ 80645 w 258445"/>
              <a:gd name="connsiteY8" fmla="*/ 11430 h 115570"/>
              <a:gd name="connsiteX9" fmla="*/ 93345 w 258445"/>
              <a:gd name="connsiteY9" fmla="*/ 43180 h 115570"/>
              <a:gd name="connsiteX10" fmla="*/ 74295 w 258445"/>
              <a:gd name="connsiteY10" fmla="*/ 80011 h 115570"/>
              <a:gd name="connsiteX11" fmla="*/ 95886 w 258445"/>
              <a:gd name="connsiteY11" fmla="*/ 91440 h 115570"/>
              <a:gd name="connsiteX12" fmla="*/ 142875 w 258445"/>
              <a:gd name="connsiteY12" fmla="*/ 107315 h 115570"/>
              <a:gd name="connsiteX13" fmla="*/ 170815 w 258445"/>
              <a:gd name="connsiteY13" fmla="*/ 103505 h 115570"/>
              <a:gd name="connsiteX14" fmla="*/ 171450 w 258445"/>
              <a:gd name="connsiteY14" fmla="*/ 103505 h 115570"/>
              <a:gd name="connsiteX15" fmla="*/ 172720 w 258445"/>
              <a:gd name="connsiteY15" fmla="*/ 102870 h 115570"/>
              <a:gd name="connsiteX16" fmla="*/ 173990 w 258445"/>
              <a:gd name="connsiteY16" fmla="*/ 103505 h 115570"/>
              <a:gd name="connsiteX17" fmla="*/ 174625 w 258445"/>
              <a:gd name="connsiteY17" fmla="*/ 104775 h 115570"/>
              <a:gd name="connsiteX18" fmla="*/ 173355 w 258445"/>
              <a:gd name="connsiteY18" fmla="*/ 106680 h 115570"/>
              <a:gd name="connsiteX19" fmla="*/ 173355 w 258445"/>
              <a:gd name="connsiteY19" fmla="*/ 106680 h 115570"/>
              <a:gd name="connsiteX20" fmla="*/ 139700 w 258445"/>
              <a:gd name="connsiteY20" fmla="*/ 115570 h 115570"/>
              <a:gd name="connsiteX21" fmla="*/ 44450 w 258445"/>
              <a:gd name="connsiteY21" fmla="*/ 6986 h 115570"/>
              <a:gd name="connsiteX22" fmla="*/ 17145 w 258445"/>
              <a:gd name="connsiteY22" fmla="*/ 41911 h 115570"/>
              <a:gd name="connsiteX23" fmla="*/ 50800 w 258445"/>
              <a:gd name="connsiteY23" fmla="*/ 83186 h 115570"/>
              <a:gd name="connsiteX24" fmla="*/ 76200 w 258445"/>
              <a:gd name="connsiteY24" fmla="*/ 46990 h 115570"/>
              <a:gd name="connsiteX25" fmla="*/ 44450 w 258445"/>
              <a:gd name="connsiteY25" fmla="*/ 6986 h 115570"/>
              <a:gd name="connsiteX26" fmla="*/ 154305 w 258445"/>
              <a:gd name="connsiteY26" fmla="*/ 88265 h 115570"/>
              <a:gd name="connsiteX27" fmla="*/ 142240 w 258445"/>
              <a:gd name="connsiteY27" fmla="*/ 88265 h 115570"/>
              <a:gd name="connsiteX28" fmla="*/ 137161 w 258445"/>
              <a:gd name="connsiteY28" fmla="*/ 88265 h 115570"/>
              <a:gd name="connsiteX29" fmla="*/ 132080 w 258445"/>
              <a:gd name="connsiteY29" fmla="*/ 88265 h 115570"/>
              <a:gd name="connsiteX30" fmla="*/ 123190 w 258445"/>
              <a:gd name="connsiteY30" fmla="*/ 88265 h 115570"/>
              <a:gd name="connsiteX31" fmla="*/ 120015 w 258445"/>
              <a:gd name="connsiteY31" fmla="*/ 86361 h 115570"/>
              <a:gd name="connsiteX32" fmla="*/ 122555 w 258445"/>
              <a:gd name="connsiteY32" fmla="*/ 85090 h 115570"/>
              <a:gd name="connsiteX33" fmla="*/ 126365 w 258445"/>
              <a:gd name="connsiteY33" fmla="*/ 84455 h 115570"/>
              <a:gd name="connsiteX34" fmla="*/ 128905 w 258445"/>
              <a:gd name="connsiteY34" fmla="*/ 78740 h 115570"/>
              <a:gd name="connsiteX35" fmla="*/ 129540 w 258445"/>
              <a:gd name="connsiteY35" fmla="*/ 54611 h 115570"/>
              <a:gd name="connsiteX36" fmla="*/ 129540 w 258445"/>
              <a:gd name="connsiteY36" fmla="*/ 8890 h 115570"/>
              <a:gd name="connsiteX37" fmla="*/ 113030 w 258445"/>
              <a:gd name="connsiteY37" fmla="*/ 9525 h 115570"/>
              <a:gd name="connsiteX38" fmla="*/ 102870 w 258445"/>
              <a:gd name="connsiteY38" fmla="*/ 12700 h 115570"/>
              <a:gd name="connsiteX39" fmla="*/ 100965 w 258445"/>
              <a:gd name="connsiteY39" fmla="*/ 16511 h 115570"/>
              <a:gd name="connsiteX40" fmla="*/ 99061 w 258445"/>
              <a:gd name="connsiteY40" fmla="*/ 18415 h 115570"/>
              <a:gd name="connsiteX41" fmla="*/ 97155 w 258445"/>
              <a:gd name="connsiteY41" fmla="*/ 15875 h 115570"/>
              <a:gd name="connsiteX42" fmla="*/ 99695 w 258445"/>
              <a:gd name="connsiteY42" fmla="*/ 2540 h 115570"/>
              <a:gd name="connsiteX43" fmla="*/ 101600 w 258445"/>
              <a:gd name="connsiteY43" fmla="*/ 0 h 115570"/>
              <a:gd name="connsiteX44" fmla="*/ 102870 w 258445"/>
              <a:gd name="connsiteY44" fmla="*/ 636 h 115570"/>
              <a:gd name="connsiteX45" fmla="*/ 106045 w 258445"/>
              <a:gd name="connsiteY45" fmla="*/ 1270 h 115570"/>
              <a:gd name="connsiteX46" fmla="*/ 117475 w 258445"/>
              <a:gd name="connsiteY46" fmla="*/ 1905 h 115570"/>
              <a:gd name="connsiteX47" fmla="*/ 161925 w 258445"/>
              <a:gd name="connsiteY47" fmla="*/ 1905 h 115570"/>
              <a:gd name="connsiteX48" fmla="*/ 169545 w 258445"/>
              <a:gd name="connsiteY48" fmla="*/ 1270 h 115570"/>
              <a:gd name="connsiteX49" fmla="*/ 169545 w 258445"/>
              <a:gd name="connsiteY49" fmla="*/ 1270 h 115570"/>
              <a:gd name="connsiteX50" fmla="*/ 170815 w 258445"/>
              <a:gd name="connsiteY50" fmla="*/ 1270 h 115570"/>
              <a:gd name="connsiteX51" fmla="*/ 172720 w 258445"/>
              <a:gd name="connsiteY51" fmla="*/ 636 h 115570"/>
              <a:gd name="connsiteX52" fmla="*/ 173990 w 258445"/>
              <a:gd name="connsiteY52" fmla="*/ 3811 h 115570"/>
              <a:gd name="connsiteX53" fmla="*/ 173990 w 258445"/>
              <a:gd name="connsiteY53" fmla="*/ 9525 h 115570"/>
              <a:gd name="connsiteX54" fmla="*/ 173990 w 258445"/>
              <a:gd name="connsiteY54" fmla="*/ 16511 h 115570"/>
              <a:gd name="connsiteX55" fmla="*/ 172086 w 258445"/>
              <a:gd name="connsiteY55" fmla="*/ 19050 h 115570"/>
              <a:gd name="connsiteX56" fmla="*/ 170180 w 258445"/>
              <a:gd name="connsiteY56" fmla="*/ 16511 h 115570"/>
              <a:gd name="connsiteX57" fmla="*/ 170180 w 258445"/>
              <a:gd name="connsiteY57" fmla="*/ 15240 h 115570"/>
              <a:gd name="connsiteX58" fmla="*/ 157480 w 258445"/>
              <a:gd name="connsiteY58" fmla="*/ 9525 h 115570"/>
              <a:gd name="connsiteX59" fmla="*/ 144145 w 258445"/>
              <a:gd name="connsiteY59" fmla="*/ 8890 h 115570"/>
              <a:gd name="connsiteX60" fmla="*/ 144145 w 258445"/>
              <a:gd name="connsiteY60" fmla="*/ 54611 h 115570"/>
              <a:gd name="connsiteX61" fmla="*/ 144780 w 258445"/>
              <a:gd name="connsiteY61" fmla="*/ 78740 h 115570"/>
              <a:gd name="connsiteX62" fmla="*/ 148590 w 258445"/>
              <a:gd name="connsiteY62" fmla="*/ 84455 h 115570"/>
              <a:gd name="connsiteX63" fmla="*/ 154305 w 258445"/>
              <a:gd name="connsiteY63" fmla="*/ 85090 h 115570"/>
              <a:gd name="connsiteX64" fmla="*/ 156845 w 258445"/>
              <a:gd name="connsiteY64" fmla="*/ 86361 h 115570"/>
              <a:gd name="connsiteX65" fmla="*/ 154305 w 258445"/>
              <a:gd name="connsiteY65" fmla="*/ 88265 h 115570"/>
              <a:gd name="connsiteX66" fmla="*/ 231140 w 258445"/>
              <a:gd name="connsiteY66" fmla="*/ 90170 h 115570"/>
              <a:gd name="connsiteX67" fmla="*/ 191770 w 258445"/>
              <a:gd name="connsiteY67" fmla="*/ 77470 h 115570"/>
              <a:gd name="connsiteX68" fmla="*/ 191770 w 258445"/>
              <a:gd name="connsiteY68" fmla="*/ 77470 h 115570"/>
              <a:gd name="connsiteX69" fmla="*/ 177800 w 258445"/>
              <a:gd name="connsiteY69" fmla="*/ 43815 h 115570"/>
              <a:gd name="connsiteX70" fmla="*/ 191136 w 258445"/>
              <a:gd name="connsiteY70" fmla="*/ 12700 h 115570"/>
              <a:gd name="connsiteX71" fmla="*/ 227330 w 258445"/>
              <a:gd name="connsiteY71" fmla="*/ 636 h 115570"/>
              <a:gd name="connsiteX72" fmla="*/ 244475 w 258445"/>
              <a:gd name="connsiteY72" fmla="*/ 2540 h 115570"/>
              <a:gd name="connsiteX73" fmla="*/ 250190 w 258445"/>
              <a:gd name="connsiteY73" fmla="*/ 3811 h 115570"/>
              <a:gd name="connsiteX74" fmla="*/ 255905 w 258445"/>
              <a:gd name="connsiteY74" fmla="*/ 4445 h 115570"/>
              <a:gd name="connsiteX75" fmla="*/ 258445 w 258445"/>
              <a:gd name="connsiteY75" fmla="*/ 6350 h 115570"/>
              <a:gd name="connsiteX76" fmla="*/ 258445 w 258445"/>
              <a:gd name="connsiteY76" fmla="*/ 7620 h 115570"/>
              <a:gd name="connsiteX77" fmla="*/ 257811 w 258445"/>
              <a:gd name="connsiteY77" fmla="*/ 12065 h 115570"/>
              <a:gd name="connsiteX78" fmla="*/ 257811 w 258445"/>
              <a:gd name="connsiteY78" fmla="*/ 18415 h 115570"/>
              <a:gd name="connsiteX79" fmla="*/ 257811 w 258445"/>
              <a:gd name="connsiteY79" fmla="*/ 24130 h 115570"/>
              <a:gd name="connsiteX80" fmla="*/ 255905 w 258445"/>
              <a:gd name="connsiteY80" fmla="*/ 27305 h 115570"/>
              <a:gd name="connsiteX81" fmla="*/ 254000 w 258445"/>
              <a:gd name="connsiteY81" fmla="*/ 24130 h 115570"/>
              <a:gd name="connsiteX82" fmla="*/ 249555 w 258445"/>
              <a:gd name="connsiteY82" fmla="*/ 13970 h 115570"/>
              <a:gd name="connsiteX83" fmla="*/ 226061 w 258445"/>
              <a:gd name="connsiteY83" fmla="*/ 6986 h 115570"/>
              <a:gd name="connsiteX84" fmla="*/ 205105 w 258445"/>
              <a:gd name="connsiteY84" fmla="*/ 13970 h 115570"/>
              <a:gd name="connsiteX85" fmla="*/ 194945 w 258445"/>
              <a:gd name="connsiteY85" fmla="*/ 42545 h 115570"/>
              <a:gd name="connsiteX86" fmla="*/ 229870 w 258445"/>
              <a:gd name="connsiteY86" fmla="*/ 81915 h 115570"/>
              <a:gd name="connsiteX87" fmla="*/ 250825 w 258445"/>
              <a:gd name="connsiteY87" fmla="*/ 75565 h 115570"/>
              <a:gd name="connsiteX88" fmla="*/ 254636 w 258445"/>
              <a:gd name="connsiteY88" fmla="*/ 68580 h 115570"/>
              <a:gd name="connsiteX89" fmla="*/ 256540 w 258445"/>
              <a:gd name="connsiteY89" fmla="*/ 66040 h 115570"/>
              <a:gd name="connsiteX90" fmla="*/ 258445 w 258445"/>
              <a:gd name="connsiteY90" fmla="*/ 68580 h 115570"/>
              <a:gd name="connsiteX91" fmla="*/ 255905 w 258445"/>
              <a:gd name="connsiteY91" fmla="*/ 83820 h 115570"/>
              <a:gd name="connsiteX92" fmla="*/ 252730 w 258445"/>
              <a:gd name="connsiteY92" fmla="*/ 87630 h 115570"/>
              <a:gd name="connsiteX93" fmla="*/ 231140 w 258445"/>
              <a:gd name="connsiteY93" fmla="*/ 90170 h 1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8445" h="115570">
                <a:moveTo>
                  <a:pt x="139700" y="115570"/>
                </a:moveTo>
                <a:cubicBezTo>
                  <a:pt x="137795" y="115570"/>
                  <a:pt x="135255" y="115570"/>
                  <a:pt x="133350" y="115570"/>
                </a:cubicBezTo>
                <a:cubicBezTo>
                  <a:pt x="117475" y="114300"/>
                  <a:pt x="101600" y="109220"/>
                  <a:pt x="81915" y="97155"/>
                </a:cubicBezTo>
                <a:lnTo>
                  <a:pt x="64136" y="86995"/>
                </a:lnTo>
                <a:cubicBezTo>
                  <a:pt x="59690" y="88900"/>
                  <a:pt x="52070" y="90170"/>
                  <a:pt x="46355" y="90170"/>
                </a:cubicBezTo>
                <a:cubicBezTo>
                  <a:pt x="31115" y="90170"/>
                  <a:pt x="19050" y="85090"/>
                  <a:pt x="10795" y="74930"/>
                </a:cubicBezTo>
                <a:cubicBezTo>
                  <a:pt x="3811" y="66675"/>
                  <a:pt x="0" y="55880"/>
                  <a:pt x="0" y="44450"/>
                </a:cubicBezTo>
                <a:cubicBezTo>
                  <a:pt x="0" y="26670"/>
                  <a:pt x="12700" y="0"/>
                  <a:pt x="46990" y="0"/>
                </a:cubicBezTo>
                <a:cubicBezTo>
                  <a:pt x="60325" y="0"/>
                  <a:pt x="72390" y="3811"/>
                  <a:pt x="80645" y="11430"/>
                </a:cubicBezTo>
                <a:cubicBezTo>
                  <a:pt x="88900" y="19050"/>
                  <a:pt x="93345" y="30480"/>
                  <a:pt x="93345" y="43180"/>
                </a:cubicBezTo>
                <a:cubicBezTo>
                  <a:pt x="93345" y="64770"/>
                  <a:pt x="78740" y="76836"/>
                  <a:pt x="74295" y="80011"/>
                </a:cubicBezTo>
                <a:lnTo>
                  <a:pt x="95886" y="91440"/>
                </a:lnTo>
                <a:cubicBezTo>
                  <a:pt x="119380" y="103505"/>
                  <a:pt x="131445" y="106045"/>
                  <a:pt x="142875" y="107315"/>
                </a:cubicBezTo>
                <a:cubicBezTo>
                  <a:pt x="151765" y="107950"/>
                  <a:pt x="163195" y="106045"/>
                  <a:pt x="170815" y="103505"/>
                </a:cubicBezTo>
                <a:cubicBezTo>
                  <a:pt x="170815" y="103505"/>
                  <a:pt x="171450" y="103505"/>
                  <a:pt x="171450" y="103505"/>
                </a:cubicBezTo>
                <a:cubicBezTo>
                  <a:pt x="172086" y="103505"/>
                  <a:pt x="172086" y="102870"/>
                  <a:pt x="172720" y="102870"/>
                </a:cubicBezTo>
                <a:cubicBezTo>
                  <a:pt x="173355" y="102870"/>
                  <a:pt x="173355" y="102870"/>
                  <a:pt x="173990" y="103505"/>
                </a:cubicBezTo>
                <a:cubicBezTo>
                  <a:pt x="173990" y="104140"/>
                  <a:pt x="174625" y="104140"/>
                  <a:pt x="174625" y="104775"/>
                </a:cubicBezTo>
                <a:cubicBezTo>
                  <a:pt x="174625" y="105411"/>
                  <a:pt x="173990" y="106045"/>
                  <a:pt x="173355" y="106680"/>
                </a:cubicBezTo>
                <a:lnTo>
                  <a:pt x="173355" y="106680"/>
                </a:lnTo>
                <a:cubicBezTo>
                  <a:pt x="167640" y="109855"/>
                  <a:pt x="158750" y="115570"/>
                  <a:pt x="139700" y="115570"/>
                </a:cubicBezTo>
                <a:close/>
                <a:moveTo>
                  <a:pt x="44450" y="6986"/>
                </a:moveTo>
                <a:cubicBezTo>
                  <a:pt x="27305" y="6986"/>
                  <a:pt x="17145" y="19686"/>
                  <a:pt x="17145" y="41911"/>
                </a:cubicBezTo>
                <a:cubicBezTo>
                  <a:pt x="17145" y="70486"/>
                  <a:pt x="34925" y="83186"/>
                  <a:pt x="50800" y="83186"/>
                </a:cubicBezTo>
                <a:cubicBezTo>
                  <a:pt x="73025" y="83186"/>
                  <a:pt x="76200" y="60325"/>
                  <a:pt x="76200" y="46990"/>
                </a:cubicBezTo>
                <a:cubicBezTo>
                  <a:pt x="76200" y="26670"/>
                  <a:pt x="65405" y="6986"/>
                  <a:pt x="44450" y="6986"/>
                </a:cubicBezTo>
                <a:close/>
                <a:moveTo>
                  <a:pt x="154305" y="88265"/>
                </a:moveTo>
                <a:cubicBezTo>
                  <a:pt x="149861" y="88265"/>
                  <a:pt x="145415" y="88265"/>
                  <a:pt x="142240" y="88265"/>
                </a:cubicBezTo>
                <a:cubicBezTo>
                  <a:pt x="140336" y="88265"/>
                  <a:pt x="138430" y="88265"/>
                  <a:pt x="137161" y="88265"/>
                </a:cubicBezTo>
                <a:cubicBezTo>
                  <a:pt x="135890" y="88265"/>
                  <a:pt x="133986" y="88265"/>
                  <a:pt x="132080" y="88265"/>
                </a:cubicBezTo>
                <a:cubicBezTo>
                  <a:pt x="128905" y="88265"/>
                  <a:pt x="125730" y="88265"/>
                  <a:pt x="123190" y="88265"/>
                </a:cubicBezTo>
                <a:cubicBezTo>
                  <a:pt x="121286" y="88265"/>
                  <a:pt x="120015" y="87630"/>
                  <a:pt x="120015" y="86361"/>
                </a:cubicBezTo>
                <a:cubicBezTo>
                  <a:pt x="120015" y="85090"/>
                  <a:pt x="120650" y="85090"/>
                  <a:pt x="122555" y="85090"/>
                </a:cubicBezTo>
                <a:cubicBezTo>
                  <a:pt x="123825" y="85090"/>
                  <a:pt x="125095" y="85090"/>
                  <a:pt x="126365" y="84455"/>
                </a:cubicBezTo>
                <a:cubicBezTo>
                  <a:pt x="128270" y="83820"/>
                  <a:pt x="128905" y="82550"/>
                  <a:pt x="128905" y="78740"/>
                </a:cubicBezTo>
                <a:cubicBezTo>
                  <a:pt x="129540" y="74295"/>
                  <a:pt x="129540" y="65405"/>
                  <a:pt x="129540" y="54611"/>
                </a:cubicBezTo>
                <a:lnTo>
                  <a:pt x="129540" y="8890"/>
                </a:lnTo>
                <a:lnTo>
                  <a:pt x="113030" y="9525"/>
                </a:lnTo>
                <a:cubicBezTo>
                  <a:pt x="106045" y="9525"/>
                  <a:pt x="104140" y="10161"/>
                  <a:pt x="102870" y="12700"/>
                </a:cubicBezTo>
                <a:cubicBezTo>
                  <a:pt x="101600" y="14605"/>
                  <a:pt x="100965" y="15875"/>
                  <a:pt x="100965" y="16511"/>
                </a:cubicBezTo>
                <a:cubicBezTo>
                  <a:pt x="100965" y="17145"/>
                  <a:pt x="100330" y="18415"/>
                  <a:pt x="99061" y="18415"/>
                </a:cubicBezTo>
                <a:cubicBezTo>
                  <a:pt x="97155" y="18415"/>
                  <a:pt x="97155" y="16511"/>
                  <a:pt x="97155" y="15875"/>
                </a:cubicBezTo>
                <a:cubicBezTo>
                  <a:pt x="97155" y="13970"/>
                  <a:pt x="99061" y="3175"/>
                  <a:pt x="99695" y="2540"/>
                </a:cubicBezTo>
                <a:cubicBezTo>
                  <a:pt x="99695" y="1270"/>
                  <a:pt x="100330" y="0"/>
                  <a:pt x="101600" y="0"/>
                </a:cubicBezTo>
                <a:cubicBezTo>
                  <a:pt x="102236" y="0"/>
                  <a:pt x="102236" y="0"/>
                  <a:pt x="102870" y="636"/>
                </a:cubicBezTo>
                <a:cubicBezTo>
                  <a:pt x="103505" y="1270"/>
                  <a:pt x="104775" y="1270"/>
                  <a:pt x="106045" y="1270"/>
                </a:cubicBezTo>
                <a:cubicBezTo>
                  <a:pt x="109220" y="1905"/>
                  <a:pt x="113665" y="1905"/>
                  <a:pt x="117475" y="1905"/>
                </a:cubicBezTo>
                <a:lnTo>
                  <a:pt x="161925" y="1905"/>
                </a:lnTo>
                <a:cubicBezTo>
                  <a:pt x="165736" y="1905"/>
                  <a:pt x="167640" y="1270"/>
                  <a:pt x="169545" y="1270"/>
                </a:cubicBezTo>
                <a:lnTo>
                  <a:pt x="169545" y="1270"/>
                </a:lnTo>
                <a:cubicBezTo>
                  <a:pt x="170180" y="1270"/>
                  <a:pt x="170180" y="1270"/>
                  <a:pt x="170815" y="1270"/>
                </a:cubicBezTo>
                <a:cubicBezTo>
                  <a:pt x="172086" y="1270"/>
                  <a:pt x="172086" y="636"/>
                  <a:pt x="172720" y="636"/>
                </a:cubicBezTo>
                <a:cubicBezTo>
                  <a:pt x="173990" y="636"/>
                  <a:pt x="173990" y="1905"/>
                  <a:pt x="173990" y="3811"/>
                </a:cubicBezTo>
                <a:cubicBezTo>
                  <a:pt x="173990" y="5080"/>
                  <a:pt x="173990" y="6986"/>
                  <a:pt x="173990" y="9525"/>
                </a:cubicBezTo>
                <a:cubicBezTo>
                  <a:pt x="173990" y="12065"/>
                  <a:pt x="173990" y="15240"/>
                  <a:pt x="173990" y="16511"/>
                </a:cubicBezTo>
                <a:cubicBezTo>
                  <a:pt x="173990" y="17145"/>
                  <a:pt x="173990" y="19050"/>
                  <a:pt x="172086" y="19050"/>
                </a:cubicBezTo>
                <a:cubicBezTo>
                  <a:pt x="170180" y="19050"/>
                  <a:pt x="170180" y="17780"/>
                  <a:pt x="170180" y="16511"/>
                </a:cubicBezTo>
                <a:lnTo>
                  <a:pt x="170180" y="15240"/>
                </a:lnTo>
                <a:cubicBezTo>
                  <a:pt x="170180" y="12065"/>
                  <a:pt x="165100" y="9525"/>
                  <a:pt x="157480" y="9525"/>
                </a:cubicBezTo>
                <a:lnTo>
                  <a:pt x="144145" y="8890"/>
                </a:lnTo>
                <a:lnTo>
                  <a:pt x="144145" y="54611"/>
                </a:lnTo>
                <a:cubicBezTo>
                  <a:pt x="144145" y="64770"/>
                  <a:pt x="144145" y="73661"/>
                  <a:pt x="144780" y="78740"/>
                </a:cubicBezTo>
                <a:cubicBezTo>
                  <a:pt x="145415" y="81915"/>
                  <a:pt x="146050" y="83820"/>
                  <a:pt x="148590" y="84455"/>
                </a:cubicBezTo>
                <a:cubicBezTo>
                  <a:pt x="149861" y="84455"/>
                  <a:pt x="152400" y="85090"/>
                  <a:pt x="154305" y="85090"/>
                </a:cubicBezTo>
                <a:cubicBezTo>
                  <a:pt x="156211" y="85090"/>
                  <a:pt x="156845" y="85725"/>
                  <a:pt x="156845" y="86361"/>
                </a:cubicBezTo>
                <a:cubicBezTo>
                  <a:pt x="156845" y="86995"/>
                  <a:pt x="156845" y="88265"/>
                  <a:pt x="154305" y="88265"/>
                </a:cubicBezTo>
                <a:close/>
                <a:moveTo>
                  <a:pt x="231140" y="90170"/>
                </a:moveTo>
                <a:cubicBezTo>
                  <a:pt x="213995" y="90170"/>
                  <a:pt x="201930" y="86361"/>
                  <a:pt x="191770" y="77470"/>
                </a:cubicBezTo>
                <a:lnTo>
                  <a:pt x="191770" y="77470"/>
                </a:lnTo>
                <a:cubicBezTo>
                  <a:pt x="182245" y="69215"/>
                  <a:pt x="177800" y="57786"/>
                  <a:pt x="177800" y="43815"/>
                </a:cubicBezTo>
                <a:cubicBezTo>
                  <a:pt x="177800" y="39370"/>
                  <a:pt x="179070" y="24130"/>
                  <a:pt x="191136" y="12700"/>
                </a:cubicBezTo>
                <a:cubicBezTo>
                  <a:pt x="200025" y="4445"/>
                  <a:pt x="211455" y="636"/>
                  <a:pt x="227330" y="636"/>
                </a:cubicBezTo>
                <a:cubicBezTo>
                  <a:pt x="234315" y="636"/>
                  <a:pt x="240030" y="1905"/>
                  <a:pt x="244475" y="2540"/>
                </a:cubicBezTo>
                <a:cubicBezTo>
                  <a:pt x="246380" y="2540"/>
                  <a:pt x="248286" y="3175"/>
                  <a:pt x="250190" y="3811"/>
                </a:cubicBezTo>
                <a:cubicBezTo>
                  <a:pt x="252095" y="4445"/>
                  <a:pt x="254000" y="4445"/>
                  <a:pt x="255905" y="4445"/>
                </a:cubicBezTo>
                <a:cubicBezTo>
                  <a:pt x="257811" y="4445"/>
                  <a:pt x="258445" y="5715"/>
                  <a:pt x="258445" y="6350"/>
                </a:cubicBezTo>
                <a:cubicBezTo>
                  <a:pt x="258445" y="6986"/>
                  <a:pt x="258445" y="6986"/>
                  <a:pt x="258445" y="7620"/>
                </a:cubicBezTo>
                <a:cubicBezTo>
                  <a:pt x="258445" y="8255"/>
                  <a:pt x="258445" y="10161"/>
                  <a:pt x="257811" y="12065"/>
                </a:cubicBezTo>
                <a:cubicBezTo>
                  <a:pt x="257811" y="13970"/>
                  <a:pt x="257811" y="16511"/>
                  <a:pt x="257811" y="18415"/>
                </a:cubicBezTo>
                <a:cubicBezTo>
                  <a:pt x="257811" y="20955"/>
                  <a:pt x="257811" y="22861"/>
                  <a:pt x="257811" y="24130"/>
                </a:cubicBezTo>
                <a:cubicBezTo>
                  <a:pt x="257811" y="25400"/>
                  <a:pt x="257811" y="27305"/>
                  <a:pt x="255905" y="27305"/>
                </a:cubicBezTo>
                <a:cubicBezTo>
                  <a:pt x="254000" y="27305"/>
                  <a:pt x="254000" y="25400"/>
                  <a:pt x="254000" y="24130"/>
                </a:cubicBezTo>
                <a:cubicBezTo>
                  <a:pt x="254000" y="20320"/>
                  <a:pt x="252095" y="16511"/>
                  <a:pt x="249555" y="13970"/>
                </a:cubicBezTo>
                <a:cubicBezTo>
                  <a:pt x="245745" y="10161"/>
                  <a:pt x="235586" y="6986"/>
                  <a:pt x="226061" y="6986"/>
                </a:cubicBezTo>
                <a:cubicBezTo>
                  <a:pt x="217170" y="6986"/>
                  <a:pt x="210186" y="8890"/>
                  <a:pt x="205105" y="13970"/>
                </a:cubicBezTo>
                <a:cubicBezTo>
                  <a:pt x="198120" y="20320"/>
                  <a:pt x="194945" y="29211"/>
                  <a:pt x="194945" y="42545"/>
                </a:cubicBezTo>
                <a:cubicBezTo>
                  <a:pt x="194945" y="58420"/>
                  <a:pt x="205740" y="81915"/>
                  <a:pt x="229870" y="81915"/>
                </a:cubicBezTo>
                <a:cubicBezTo>
                  <a:pt x="239395" y="81915"/>
                  <a:pt x="245745" y="81280"/>
                  <a:pt x="250825" y="75565"/>
                </a:cubicBezTo>
                <a:cubicBezTo>
                  <a:pt x="252730" y="73661"/>
                  <a:pt x="254000" y="70486"/>
                  <a:pt x="254636" y="68580"/>
                </a:cubicBezTo>
                <a:cubicBezTo>
                  <a:pt x="254636" y="67311"/>
                  <a:pt x="255270" y="66040"/>
                  <a:pt x="256540" y="66040"/>
                </a:cubicBezTo>
                <a:cubicBezTo>
                  <a:pt x="257175" y="66040"/>
                  <a:pt x="258445" y="66040"/>
                  <a:pt x="258445" y="68580"/>
                </a:cubicBezTo>
                <a:cubicBezTo>
                  <a:pt x="258445" y="69850"/>
                  <a:pt x="257175" y="80011"/>
                  <a:pt x="255905" y="83820"/>
                </a:cubicBezTo>
                <a:cubicBezTo>
                  <a:pt x="255270" y="85725"/>
                  <a:pt x="254636" y="86361"/>
                  <a:pt x="252730" y="87630"/>
                </a:cubicBezTo>
                <a:cubicBezTo>
                  <a:pt x="247650" y="88900"/>
                  <a:pt x="238125" y="90170"/>
                  <a:pt x="231140" y="90170"/>
                </a:cubicBezTo>
                <a:close/>
              </a:path>
            </a:pathLst>
          </a:custGeom>
          <a:solidFill>
            <a:srgbClr val="1B3764"/>
          </a:solidFill>
          <a:ln w="6350" cap="flat">
            <a:noFill/>
            <a:prstDash val="solid"/>
            <a:miter/>
          </a:ln>
        </p:spPr>
        <p:txBody>
          <a:bodyPr lIns="0" tIns="0" rIns="0" bIns="0" rtlCol="0" anchor="ctr">
            <a:noAutofit/>
          </a:bodyPr>
          <a:lstStyle/>
          <a:p>
            <a:endParaRPr lang="en-US"/>
          </a:p>
        </p:txBody>
      </p:sp>
      <p:cxnSp>
        <p:nvCxnSpPr>
          <p:cNvPr id="10" name="Straight Connector 9">
            <a:extLst>
              <a:ext uri="{FF2B5EF4-FFF2-40B4-BE49-F238E27FC236}">
                <a16:creationId xmlns:a16="http://schemas.microsoft.com/office/drawing/2014/main" id="{E702D6D5-6EB8-129F-5420-A9BB4A351B39}"/>
              </a:ext>
            </a:extLst>
          </p:cNvPr>
          <p:cNvCxnSpPr>
            <a:cxnSpLocks/>
          </p:cNvCxnSpPr>
          <p:nvPr userDrawn="1"/>
        </p:nvCxnSpPr>
        <p:spPr>
          <a:xfrm>
            <a:off x="11498263" y="6624976"/>
            <a:ext cx="0" cy="233024"/>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233BB11-1B43-3B6A-F43E-43D79FCFEFB4}"/>
              </a:ext>
            </a:extLst>
          </p:cNvPr>
          <p:cNvSpPr>
            <a:spLocks noGrp="1"/>
          </p:cNvSpPr>
          <p:nvPr>
            <p:ph type="ftr" sz="quarter" idx="12"/>
          </p:nvPr>
        </p:nvSpPr>
        <p:spPr/>
        <p:txBody>
          <a:bodyPr/>
          <a:lstStyle/>
          <a:p>
            <a:endParaRPr lang="en-AU"/>
          </a:p>
        </p:txBody>
      </p:sp>
    </p:spTree>
    <p:extLst>
      <p:ext uri="{BB962C8B-B14F-4D97-AF65-F5344CB8AC3E}">
        <p14:creationId xmlns:p14="http://schemas.microsoft.com/office/powerpoint/2010/main" val="68781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6913" y="549274"/>
            <a:ext cx="10801350" cy="576264"/>
          </a:xfrm>
          <a:prstGeom prst="rect">
            <a:avLst/>
          </a:prstGeom>
        </p:spPr>
        <p:txBody>
          <a:bodyPr vert="horz" lIns="0" tIns="0" rIns="0" bIns="0" rtlCol="0" anchor="b">
            <a:noAutofit/>
          </a:bodyPr>
          <a:lstStyle/>
          <a:p>
            <a:r>
              <a:rPr lang="en-AU" noProof="0"/>
              <a:t>Click to add text</a:t>
            </a:r>
          </a:p>
        </p:txBody>
      </p:sp>
      <p:sp>
        <p:nvSpPr>
          <p:cNvPr id="3" name="Text Placeholder 2"/>
          <p:cNvSpPr>
            <a:spLocks noGrp="1"/>
          </p:cNvSpPr>
          <p:nvPr>
            <p:ph type="body" idx="1"/>
          </p:nvPr>
        </p:nvSpPr>
        <p:spPr>
          <a:xfrm>
            <a:off x="696913" y="1592262"/>
            <a:ext cx="10801350" cy="4681537"/>
          </a:xfrm>
          <a:prstGeom prst="rect">
            <a:avLst/>
          </a:prstGeom>
        </p:spPr>
        <p:txBody>
          <a:bodyPr vert="horz" lIns="0" tIns="0" rIns="0" bIns="0" rtlCol="0">
            <a:noAutofit/>
          </a:bodyPr>
          <a:lstStyle/>
          <a:p>
            <a:pPr lvl="0"/>
            <a:r>
              <a:rPr lang="en-AU" noProof="0"/>
              <a:t>Click to add text</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7" name="Slide Number Placeholder 5"/>
          <p:cNvSpPr>
            <a:spLocks noGrp="1"/>
          </p:cNvSpPr>
          <p:nvPr>
            <p:ph type="sldNum" sz="quarter" idx="4"/>
          </p:nvPr>
        </p:nvSpPr>
        <p:spPr>
          <a:xfrm>
            <a:off x="11650675" y="6646068"/>
            <a:ext cx="523510" cy="96308"/>
          </a:xfrm>
          <a:prstGeom prst="rect">
            <a:avLst/>
          </a:prstGeom>
        </p:spPr>
        <p:txBody>
          <a:bodyPr vert="horz" lIns="0" tIns="0" rIns="0" bIns="0" rtlCol="0" anchor="ctr">
            <a:noAutofit/>
          </a:bodyPr>
          <a:lstStyle>
            <a:lvl1pPr algn="l">
              <a:defRPr sz="1050" b="1">
                <a:solidFill>
                  <a:schemeClr val="tx2"/>
                </a:solidFill>
                <a:latin typeface="Bahnschrift" panose="020B0502040204020203" pitchFamily="34" charset="0"/>
              </a:defRPr>
            </a:lvl1pPr>
          </a:lstStyle>
          <a:p>
            <a:fld id="{E917DE0E-AFB1-41FD-BC35-27DB61CA125F}" type="slidenum">
              <a:rPr lang="en-AU" smtClean="0"/>
              <a:pPr/>
              <a:t>‹#›</a:t>
            </a:fld>
            <a:endParaRPr lang="en-AU"/>
          </a:p>
        </p:txBody>
      </p:sp>
      <p:sp>
        <p:nvSpPr>
          <p:cNvPr id="4" name="Footer Placeholder 3">
            <a:extLst>
              <a:ext uri="{FF2B5EF4-FFF2-40B4-BE49-F238E27FC236}">
                <a16:creationId xmlns:a16="http://schemas.microsoft.com/office/drawing/2014/main" id="{BE47FE94-EAEC-84DC-35AA-1B0B2C10EE15}"/>
              </a:ext>
            </a:extLst>
          </p:cNvPr>
          <p:cNvSpPr>
            <a:spLocks noGrp="1"/>
          </p:cNvSpPr>
          <p:nvPr>
            <p:ph type="ftr" sz="quarter" idx="3"/>
          </p:nvPr>
        </p:nvSpPr>
        <p:spPr>
          <a:xfrm>
            <a:off x="696913" y="6626755"/>
            <a:ext cx="7128866" cy="113768"/>
          </a:xfrm>
          <a:prstGeom prst="rect">
            <a:avLst/>
          </a:prstGeom>
        </p:spPr>
        <p:txBody>
          <a:bodyPr vert="horz" lIns="0" tIns="0" rIns="0" bIns="0" rtlCol="0" anchor="ctr"/>
          <a:lstStyle>
            <a:lvl1pPr algn="l">
              <a:defRPr sz="1000">
                <a:solidFill>
                  <a:schemeClr val="tx1"/>
                </a:solidFill>
                <a:latin typeface="Bahnschrift Light SemiCondensed" panose="020B0502040204020203" pitchFamily="34" charset="0"/>
              </a:defRPr>
            </a:lvl1pPr>
          </a:lstStyle>
          <a:p>
            <a:endParaRPr lang="en-AU"/>
          </a:p>
        </p:txBody>
      </p:sp>
    </p:spTree>
    <p:extLst>
      <p:ext uri="{BB962C8B-B14F-4D97-AF65-F5344CB8AC3E}">
        <p14:creationId xmlns:p14="http://schemas.microsoft.com/office/powerpoint/2010/main" val="3786833112"/>
      </p:ext>
    </p:extLst>
  </p:cSld>
  <p:clrMap bg1="lt1" tx1="dk1" bg2="lt2" tx2="dk2" accent1="accent1" accent2="accent2" accent3="accent3" accent4="accent4" accent5="accent5" accent6="accent6" hlink="hlink" folHlink="folHlink"/>
  <p:sldLayoutIdLst>
    <p:sldLayoutId id="2147483762" r:id="rId1"/>
    <p:sldLayoutId id="2147483782" r:id="rId2"/>
    <p:sldLayoutId id="2147483650" r:id="rId3"/>
    <p:sldLayoutId id="2147483773" r:id="rId4"/>
    <p:sldLayoutId id="2147483776" r:id="rId5"/>
    <p:sldLayoutId id="2147483774" r:id="rId6"/>
    <p:sldLayoutId id="2147483778" r:id="rId7"/>
    <p:sldLayoutId id="2147483779" r:id="rId8"/>
    <p:sldLayoutId id="2147483652" r:id="rId9"/>
    <p:sldLayoutId id="2147483761" r:id="rId10"/>
    <p:sldLayoutId id="2147483767" r:id="rId11"/>
    <p:sldLayoutId id="2147483766" r:id="rId12"/>
    <p:sldLayoutId id="2147483780" r:id="rId13"/>
    <p:sldLayoutId id="2147483781" r:id="rId14"/>
    <p:sldLayoutId id="2147483783" r:id="rId15"/>
    <p:sldLayoutId id="2147483784" r:id="rId16"/>
    <p:sldLayoutId id="2147483786" r:id="rId17"/>
    <p:sldLayoutId id="2147483787" r:id="rId18"/>
    <p:sldLayoutId id="2147483788" r:id="rId19"/>
    <p:sldLayoutId id="2147483799" r:id="rId20"/>
    <p:sldLayoutId id="2147483790" r:id="rId21"/>
    <p:sldLayoutId id="2147483793" r:id="rId22"/>
    <p:sldLayoutId id="2147483794" r:id="rId23"/>
    <p:sldLayoutId id="2147483795" r:id="rId24"/>
    <p:sldLayoutId id="2147483797" r:id="rId25"/>
    <p:sldLayoutId id="2147483796" r:id="rId26"/>
    <p:sldLayoutId id="2147483654" r:id="rId27"/>
    <p:sldLayoutId id="2147483800" r:id="rId28"/>
    <p:sldLayoutId id="2147483655" r:id="rId29"/>
    <p:sldLayoutId id="2147483801"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088776" rtl="0" eaLnBrk="1" latinLnBrk="0" hangingPunct="1">
        <a:spcBef>
          <a:spcPct val="0"/>
        </a:spcBef>
        <a:buNone/>
        <a:defRPr sz="3000" b="0" kern="1200">
          <a:solidFill>
            <a:schemeClr val="tx2"/>
          </a:solidFill>
          <a:latin typeface="Bahnschrift SemiBold" panose="020B0502040204020203" pitchFamily="34" charset="0"/>
          <a:ea typeface="+mj-ea"/>
          <a:cs typeface="+mj-cs"/>
        </a:defRPr>
      </a:lvl1pPr>
    </p:titleStyle>
    <p:body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p:bodyStyle>
    <p:otherStyle>
      <a:defPPr>
        <a:defRPr lang="en-US"/>
      </a:defPPr>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p:otherStyle>
  </p:txStyles>
  <p:extLst>
    <p:ext uri="{27BBF7A9-308A-43DC-89C8-2F10F3537804}">
      <p15:sldGuideLst xmlns:p15="http://schemas.microsoft.com/office/powerpoint/2012/main">
        <p15:guide id="2" pos="1573" userDrawn="1">
          <p15:clr>
            <a:srgbClr val="F26B43"/>
          </p15:clr>
        </p15:guide>
        <p15:guide id="3" pos="439" userDrawn="1">
          <p15:clr>
            <a:srgbClr val="F26B43"/>
          </p15:clr>
        </p15:guide>
        <p15:guide id="4" pos="7243" userDrawn="1">
          <p15:clr>
            <a:srgbClr val="F26B43"/>
          </p15:clr>
        </p15:guide>
        <p15:guide id="5" orient="horz" pos="1003" userDrawn="1">
          <p15:clr>
            <a:srgbClr val="F26B43"/>
          </p15:clr>
        </p15:guide>
        <p15:guide id="6" orient="horz" pos="3952" userDrawn="1">
          <p15:clr>
            <a:srgbClr val="F26B43"/>
          </p15:clr>
        </p15:guide>
        <p15:guide id="7" orient="horz" pos="346" userDrawn="1">
          <p15:clr>
            <a:srgbClr val="F26B43"/>
          </p15:clr>
        </p15:guide>
        <p15:guide id="8" pos="2707" userDrawn="1">
          <p15:clr>
            <a:srgbClr val="F26B43"/>
          </p15:clr>
        </p15:guide>
        <p15:guide id="9" pos="3841" userDrawn="1">
          <p15:clr>
            <a:srgbClr val="F26B43"/>
          </p15:clr>
        </p15:guide>
        <p15:guide id="10" pos="4975" userDrawn="1">
          <p15:clr>
            <a:srgbClr val="F26B43"/>
          </p15:clr>
        </p15:guide>
        <p15:guide id="11" pos="6109" userDrawn="1">
          <p15:clr>
            <a:srgbClr val="F26B43"/>
          </p15:clr>
        </p15:guide>
        <p15:guide id="12" orient="horz" pos="1571" userDrawn="1">
          <p15:clr>
            <a:srgbClr val="F26B43"/>
          </p15:clr>
        </p15:guide>
        <p15:guide id="13" orient="horz" pos="2750" userDrawn="1">
          <p15:clr>
            <a:srgbClr val="F26B43"/>
          </p15:clr>
        </p15:guide>
        <p15:guide id="14" orient="horz" pos="4111" userDrawn="1">
          <p15:clr>
            <a:srgbClr val="5ACBF0"/>
          </p15:clr>
        </p15:guide>
        <p15:guide id="15" orient="horz" pos="3294" userDrawn="1">
          <p15:clr>
            <a:srgbClr val="F26B43"/>
          </p15:clr>
        </p15:guide>
        <p15:guide id="16" orient="horz" pos="4247" userDrawn="1">
          <p15:clr>
            <a:srgbClr val="F26B43"/>
          </p15:clr>
        </p15:guide>
        <p15:guide id="17" pos="212" userDrawn="1">
          <p15:clr>
            <a:srgbClr val="5ACBF0"/>
          </p15:clr>
        </p15:guide>
        <p15:guide id="18" orient="horz" pos="210" userDrawn="1">
          <p15:clr>
            <a:srgbClr val="5ACBF0"/>
          </p15:clr>
        </p15:guide>
        <p15:guide id="19" pos="7470" userDrawn="1">
          <p15:clr>
            <a:srgbClr val="5ACBF0"/>
          </p15:clr>
        </p15:guide>
        <p15:guide id="20" orient="horz" pos="22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manthonisz@qtc.com.au" TargetMode="External"/><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hyperlink" Target="mailto:economics@qtc.com.au" TargetMode="Externa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1.emf"/><Relationship Id="rId5" Type="http://schemas.openxmlformats.org/officeDocument/2006/relationships/oleObject" Target="../embeddings/oleObject7.bin"/><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hyperlink" Target="https://www.qtc.com.au/wp-content/uploads/2024/11/Appendix-What-drives-bond-yields-Part-5-US-fiscal-trends.pdf" TargetMode="External"/><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24.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35.emf"/><Relationship Id="rId5" Type="http://schemas.openxmlformats.org/officeDocument/2006/relationships/oleObject" Target="../embeddings/oleObject11.bin"/><Relationship Id="rId4" Type="http://schemas.openxmlformats.org/officeDocument/2006/relationships/image" Target="../media/image34.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37.emf"/><Relationship Id="rId5" Type="http://schemas.openxmlformats.org/officeDocument/2006/relationships/oleObject" Target="../embeddings/oleObject13.bin"/><Relationship Id="rId4" Type="http://schemas.openxmlformats.org/officeDocument/2006/relationships/image" Target="../media/image3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39.png"/><Relationship Id="rId4" Type="http://schemas.openxmlformats.org/officeDocument/2006/relationships/image" Target="../media/image38.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43.emf"/><Relationship Id="rId5" Type="http://schemas.openxmlformats.org/officeDocument/2006/relationships/oleObject" Target="../embeddings/oleObject16.bin"/><Relationship Id="rId4" Type="http://schemas.openxmlformats.org/officeDocument/2006/relationships/image" Target="../media/image4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5.emf"/><Relationship Id="rId5" Type="http://schemas.openxmlformats.org/officeDocument/2006/relationships/oleObject" Target="../embeddings/oleObject18.bin"/><Relationship Id="rId4" Type="http://schemas.openxmlformats.org/officeDocument/2006/relationships/image" Target="../media/image44.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47.emf"/><Relationship Id="rId5" Type="http://schemas.openxmlformats.org/officeDocument/2006/relationships/oleObject" Target="../embeddings/oleObject20.bin"/><Relationship Id="rId4" Type="http://schemas.openxmlformats.org/officeDocument/2006/relationships/image" Target="../media/image46.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oleObject" Target="../embeddings/oleObject21.bin"/><Relationship Id="rId1" Type="http://schemas.openxmlformats.org/officeDocument/2006/relationships/slideLayout" Target="../slideLayouts/slideLayout5.xml"/><Relationship Id="rId5" Type="http://schemas.openxmlformats.org/officeDocument/2006/relationships/image" Target="../media/image49.emf"/><Relationship Id="rId4" Type="http://schemas.openxmlformats.org/officeDocument/2006/relationships/oleObject" Target="../embeddings/oleObject22.bin"/></Relationships>
</file>

<file path=ppt/slides/_rels/slide2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21.xml"/><Relationship Id="rId7" Type="http://schemas.openxmlformats.org/officeDocument/2006/relationships/image" Target="../media/image51.emf"/><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oleObject" Target="../embeddings/oleObject24.bin"/><Relationship Id="rId5" Type="http://schemas.openxmlformats.org/officeDocument/2006/relationships/image" Target="../media/image50.emf"/><Relationship Id="rId4" Type="http://schemas.openxmlformats.org/officeDocument/2006/relationships/oleObject" Target="../embeddings/oleObject23.bin"/><Relationship Id="rId9" Type="http://schemas.openxmlformats.org/officeDocument/2006/relationships/image" Target="../media/image53.png"/></Relationships>
</file>

<file path=ppt/slides/_rels/slide29.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oleObject" Target="../embeddings/oleObject25.bin"/><Relationship Id="rId1" Type="http://schemas.openxmlformats.org/officeDocument/2006/relationships/slideLayout" Target="../slideLayouts/slideLayout5.xml"/><Relationship Id="rId5" Type="http://schemas.openxmlformats.org/officeDocument/2006/relationships/image" Target="../media/image55.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s://www.whitehouse.gov/presidential-actions/2025/07/further-modifying-the-reciprocal-tariff-rates/"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4.emf"/></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bridge over water with a city in the background&#10;&#10;Description automatically generated with medium confidence">
            <a:extLst>
              <a:ext uri="{FF2B5EF4-FFF2-40B4-BE49-F238E27FC236}">
                <a16:creationId xmlns:a16="http://schemas.microsoft.com/office/drawing/2014/main" id="{34D093CB-FD45-EC7B-954D-52649CA6C7C3}"/>
              </a:ext>
            </a:extLst>
          </p:cNvPr>
          <p:cNvPicPr>
            <a:picLocks noGrp="1" noChangeAspect="1"/>
          </p:cNvPicPr>
          <p:nvPr>
            <p:ph type="pic" sz="quarter" idx="14"/>
          </p:nvPr>
        </p:nvPicPr>
        <p:blipFill>
          <a:blip r:embed="rId2"/>
          <a:srcRect t="23408" b="23408"/>
          <a:stretch>
            <a:fillRect/>
          </a:stretch>
        </p:blipFill>
        <p:spPr/>
      </p:pic>
      <p:sp>
        <p:nvSpPr>
          <p:cNvPr id="35" name="Text Placeholder 34">
            <a:extLst>
              <a:ext uri="{FF2B5EF4-FFF2-40B4-BE49-F238E27FC236}">
                <a16:creationId xmlns:a16="http://schemas.microsoft.com/office/drawing/2014/main" id="{6896B0E9-EFAE-13C1-BE6E-7CA465BA654A}"/>
              </a:ext>
            </a:extLst>
          </p:cNvPr>
          <p:cNvSpPr>
            <a:spLocks noGrp="1"/>
          </p:cNvSpPr>
          <p:nvPr>
            <p:ph type="body" sz="quarter" idx="12"/>
          </p:nvPr>
        </p:nvSpPr>
        <p:spPr/>
        <p:txBody>
          <a:bodyPr/>
          <a:lstStyle/>
          <a:p>
            <a:endParaRPr lang="en-AU"/>
          </a:p>
        </p:txBody>
      </p:sp>
      <p:sp>
        <p:nvSpPr>
          <p:cNvPr id="3" name="Title 2">
            <a:extLst>
              <a:ext uri="{FF2B5EF4-FFF2-40B4-BE49-F238E27FC236}">
                <a16:creationId xmlns:a16="http://schemas.microsoft.com/office/drawing/2014/main" id="{FB1BA432-63B5-69BD-D620-BBED69DC8446}"/>
              </a:ext>
            </a:extLst>
          </p:cNvPr>
          <p:cNvSpPr>
            <a:spLocks noGrp="1"/>
          </p:cNvSpPr>
          <p:nvPr>
            <p:ph type="title"/>
          </p:nvPr>
        </p:nvSpPr>
        <p:spPr>
          <a:xfrm>
            <a:off x="1548576" y="1048353"/>
            <a:ext cx="5232709" cy="2226374"/>
          </a:xfrm>
        </p:spPr>
        <p:txBody>
          <a:bodyPr/>
          <a:lstStyle/>
          <a:p>
            <a:r>
              <a:rPr lang="en-AU" dirty="0"/>
              <a:t>Economic Update</a:t>
            </a:r>
          </a:p>
        </p:txBody>
      </p:sp>
      <p:sp>
        <p:nvSpPr>
          <p:cNvPr id="5" name="Text Placeholder 4">
            <a:extLst>
              <a:ext uri="{FF2B5EF4-FFF2-40B4-BE49-F238E27FC236}">
                <a16:creationId xmlns:a16="http://schemas.microsoft.com/office/drawing/2014/main" id="{4F43292F-B870-49E9-025C-931E5DFAECDC}"/>
              </a:ext>
            </a:extLst>
          </p:cNvPr>
          <p:cNvSpPr>
            <a:spLocks noGrp="1"/>
          </p:cNvSpPr>
          <p:nvPr>
            <p:ph type="body" sz="quarter" idx="11"/>
          </p:nvPr>
        </p:nvSpPr>
        <p:spPr>
          <a:xfrm>
            <a:off x="1548576" y="659035"/>
            <a:ext cx="4800659" cy="237845"/>
          </a:xfrm>
        </p:spPr>
        <p:txBody>
          <a:bodyPr/>
          <a:lstStyle/>
          <a:p>
            <a:r>
              <a:rPr lang="en-AU" dirty="0"/>
              <a:t>22 November 2025</a:t>
            </a:r>
          </a:p>
        </p:txBody>
      </p:sp>
      <p:sp>
        <p:nvSpPr>
          <p:cNvPr id="2" name="Text Placeholder 3">
            <a:extLst>
              <a:ext uri="{FF2B5EF4-FFF2-40B4-BE49-F238E27FC236}">
                <a16:creationId xmlns:a16="http://schemas.microsoft.com/office/drawing/2014/main" id="{A5E644AE-957F-C438-74F7-1BF6D2BA66F7}"/>
              </a:ext>
            </a:extLst>
          </p:cNvPr>
          <p:cNvSpPr>
            <a:spLocks noGrp="1"/>
          </p:cNvSpPr>
          <p:nvPr>
            <p:ph type="body" sz="quarter" idx="10"/>
          </p:nvPr>
        </p:nvSpPr>
        <p:spPr>
          <a:xfrm>
            <a:off x="264939" y="4833059"/>
            <a:ext cx="10369152" cy="1765087"/>
          </a:xfrm>
        </p:spPr>
        <p:txBody>
          <a:bodyPr/>
          <a:lstStyle/>
          <a:p>
            <a:r>
              <a:rPr lang="en-US" dirty="0"/>
              <a:t>Presented to </a:t>
            </a:r>
            <a:r>
              <a:rPr lang="en-AU" dirty="0"/>
              <a:t>Queensland Economic Teachers Association AGM</a:t>
            </a:r>
          </a:p>
          <a:p>
            <a:endParaRPr lang="en-US" dirty="0"/>
          </a:p>
          <a:p>
            <a:r>
              <a:rPr lang="en-US" dirty="0"/>
              <a:t>Michael Anthonisz, Chief Economist</a:t>
            </a:r>
          </a:p>
          <a:p>
            <a:r>
              <a:rPr lang="en-US" dirty="0">
                <a:hlinkClick r:id="rId3"/>
              </a:rPr>
              <a:t>manthonisz@qtc.com.au</a:t>
            </a:r>
            <a:r>
              <a:rPr lang="en-US" dirty="0"/>
              <a:t> or </a:t>
            </a:r>
            <a:r>
              <a:rPr lang="en-US" dirty="0">
                <a:hlinkClick r:id="rId4"/>
              </a:rPr>
              <a:t>economics@qtc.com.au</a:t>
            </a:r>
            <a:r>
              <a:rPr lang="en-US" dirty="0"/>
              <a:t> </a:t>
            </a:r>
          </a:p>
          <a:p>
            <a:endParaRPr lang="en-US" dirty="0"/>
          </a:p>
          <a:p>
            <a:endParaRPr lang="en-US" dirty="0"/>
          </a:p>
        </p:txBody>
      </p:sp>
    </p:spTree>
    <p:extLst>
      <p:ext uri="{BB962C8B-B14F-4D97-AF65-F5344CB8AC3E}">
        <p14:creationId xmlns:p14="http://schemas.microsoft.com/office/powerpoint/2010/main" val="3108952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96C982-3A81-D8E7-E42C-1CDB0B046B3A}"/>
              </a:ext>
            </a:extLst>
          </p:cNvPr>
          <p:cNvSpPr>
            <a:spLocks noGrp="1"/>
          </p:cNvSpPr>
          <p:nvPr>
            <p:ph type="title"/>
          </p:nvPr>
        </p:nvSpPr>
        <p:spPr>
          <a:xfrm>
            <a:off x="696912" y="117426"/>
            <a:ext cx="10801350" cy="576264"/>
          </a:xfrm>
        </p:spPr>
        <p:txBody>
          <a:bodyPr/>
          <a:lstStyle/>
          <a:p>
            <a:r>
              <a:rPr lang="en-AU" dirty="0"/>
              <a:t>US fiscal challenges</a:t>
            </a:r>
          </a:p>
        </p:txBody>
      </p:sp>
      <p:sp>
        <p:nvSpPr>
          <p:cNvPr id="17" name="Slide Number Placeholder 16">
            <a:extLst>
              <a:ext uri="{FF2B5EF4-FFF2-40B4-BE49-F238E27FC236}">
                <a16:creationId xmlns:a16="http://schemas.microsoft.com/office/drawing/2014/main" id="{A22BE479-268D-2AE7-D21B-7087D6ECFF17}"/>
              </a:ext>
            </a:extLst>
          </p:cNvPr>
          <p:cNvSpPr>
            <a:spLocks noGrp="1"/>
          </p:cNvSpPr>
          <p:nvPr>
            <p:ph type="sldNum" sz="quarter" idx="16"/>
          </p:nvPr>
        </p:nvSpPr>
        <p:spPr/>
        <p:txBody>
          <a:bodyPr/>
          <a:lstStyle/>
          <a:p>
            <a:fld id="{E917DE0E-AFB1-41FD-BC35-27DB61CA125F}" type="slidenum">
              <a:rPr lang="en-AU" smtClean="0"/>
              <a:pPr/>
              <a:t>10</a:t>
            </a:fld>
            <a:endParaRPr lang="en-AU" dirty="0"/>
          </a:p>
        </p:txBody>
      </p:sp>
      <p:graphicFrame>
        <p:nvGraphicFramePr>
          <p:cNvPr id="5" name="Object 4">
            <a:extLst>
              <a:ext uri="{FF2B5EF4-FFF2-40B4-BE49-F238E27FC236}">
                <a16:creationId xmlns:a16="http://schemas.microsoft.com/office/drawing/2014/main" id="{77AB9DF3-D6FA-31F5-AC42-119BDFF3DCC2}"/>
              </a:ext>
            </a:extLst>
          </p:cNvPr>
          <p:cNvGraphicFramePr>
            <a:graphicFrameLocks noChangeAspect="1"/>
          </p:cNvGraphicFramePr>
          <p:nvPr>
            <p:extLst>
              <p:ext uri="{D42A27DB-BD31-4B8C-83A1-F6EECF244321}">
                <p14:modId xmlns:p14="http://schemas.microsoft.com/office/powerpoint/2010/main" val="1056593121"/>
              </p:ext>
            </p:extLst>
          </p:nvPr>
        </p:nvGraphicFramePr>
        <p:xfrm>
          <a:off x="696913" y="1068388"/>
          <a:ext cx="5124450" cy="4722812"/>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5" name="Object 4">
                        <a:extLst>
                          <a:ext uri="{FF2B5EF4-FFF2-40B4-BE49-F238E27FC236}">
                            <a16:creationId xmlns:a16="http://schemas.microsoft.com/office/drawing/2014/main" id="{77AB9DF3-D6FA-31F5-AC42-119BDFF3DCC2}"/>
                          </a:ext>
                        </a:extLst>
                      </p:cNvPr>
                      <p:cNvPicPr/>
                      <p:nvPr/>
                    </p:nvPicPr>
                    <p:blipFill>
                      <a:blip r:embed="rId4"/>
                      <a:stretch>
                        <a:fillRect/>
                      </a:stretch>
                    </p:blipFill>
                    <p:spPr>
                      <a:xfrm>
                        <a:off x="696913" y="1068388"/>
                        <a:ext cx="5124450" cy="4722812"/>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A23C647E-869F-909F-5C32-05BE4A1100C6}"/>
              </a:ext>
            </a:extLst>
          </p:cNvPr>
          <p:cNvGraphicFramePr>
            <a:graphicFrameLocks noChangeAspect="1"/>
          </p:cNvGraphicFramePr>
          <p:nvPr>
            <p:extLst>
              <p:ext uri="{D42A27DB-BD31-4B8C-83A1-F6EECF244321}">
                <p14:modId xmlns:p14="http://schemas.microsoft.com/office/powerpoint/2010/main" val="1504630624"/>
              </p:ext>
            </p:extLst>
          </p:nvPr>
        </p:nvGraphicFramePr>
        <p:xfrm>
          <a:off x="6373813" y="1068388"/>
          <a:ext cx="5124450" cy="4722812"/>
        </p:xfrm>
        <a:graphic>
          <a:graphicData uri="http://schemas.openxmlformats.org/presentationml/2006/ole">
            <mc:AlternateContent xmlns:mc="http://schemas.openxmlformats.org/markup-compatibility/2006">
              <mc:Choice xmlns:v="urn:schemas-microsoft-com:vml" Requires="v">
                <p:oleObj name="Macrobond document" r:id="rId5" imgW="5123742" imgH="4723318" progId="Mbnd.mbnd">
                  <p:embed/>
                </p:oleObj>
              </mc:Choice>
              <mc:Fallback>
                <p:oleObj name="Macrobond document" r:id="rId5" imgW="5123742" imgH="4723318" progId="Mbnd.mbnd">
                  <p:embed/>
                  <p:pic>
                    <p:nvPicPr>
                      <p:cNvPr id="6" name="Object 5">
                        <a:extLst>
                          <a:ext uri="{FF2B5EF4-FFF2-40B4-BE49-F238E27FC236}">
                            <a16:creationId xmlns:a16="http://schemas.microsoft.com/office/drawing/2014/main" id="{A23C647E-869F-909F-5C32-05BE4A1100C6}"/>
                          </a:ext>
                        </a:extLst>
                      </p:cNvPr>
                      <p:cNvPicPr/>
                      <p:nvPr/>
                    </p:nvPicPr>
                    <p:blipFill>
                      <a:blip r:embed="rId6"/>
                      <a:stretch>
                        <a:fillRect/>
                      </a:stretch>
                    </p:blipFill>
                    <p:spPr>
                      <a:xfrm>
                        <a:off x="6373813" y="1068388"/>
                        <a:ext cx="5124450" cy="4722812"/>
                      </a:xfrm>
                      <a:prstGeom prst="rect">
                        <a:avLst/>
                      </a:prstGeom>
                    </p:spPr>
                  </p:pic>
                </p:oleObj>
              </mc:Fallback>
            </mc:AlternateContent>
          </a:graphicData>
        </a:graphic>
      </p:graphicFrame>
    </p:spTree>
    <p:extLst>
      <p:ext uri="{BB962C8B-B14F-4D97-AF65-F5344CB8AC3E}">
        <p14:creationId xmlns:p14="http://schemas.microsoft.com/office/powerpoint/2010/main" val="38957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96C982-3A81-D8E7-E42C-1CDB0B046B3A}"/>
              </a:ext>
            </a:extLst>
          </p:cNvPr>
          <p:cNvSpPr>
            <a:spLocks noGrp="1"/>
          </p:cNvSpPr>
          <p:nvPr>
            <p:ph type="title"/>
          </p:nvPr>
        </p:nvSpPr>
        <p:spPr>
          <a:xfrm>
            <a:off x="696912" y="117426"/>
            <a:ext cx="10801350" cy="576264"/>
          </a:xfrm>
        </p:spPr>
        <p:txBody>
          <a:bodyPr/>
          <a:lstStyle/>
          <a:p>
            <a:r>
              <a:rPr lang="en-AU" dirty="0"/>
              <a:t>US fiscal challenges</a:t>
            </a:r>
          </a:p>
        </p:txBody>
      </p:sp>
      <p:sp>
        <p:nvSpPr>
          <p:cNvPr id="17" name="Slide Number Placeholder 16">
            <a:extLst>
              <a:ext uri="{FF2B5EF4-FFF2-40B4-BE49-F238E27FC236}">
                <a16:creationId xmlns:a16="http://schemas.microsoft.com/office/drawing/2014/main" id="{A22BE479-268D-2AE7-D21B-7087D6ECFF17}"/>
              </a:ext>
            </a:extLst>
          </p:cNvPr>
          <p:cNvSpPr>
            <a:spLocks noGrp="1"/>
          </p:cNvSpPr>
          <p:nvPr>
            <p:ph type="sldNum" sz="quarter" idx="16"/>
          </p:nvPr>
        </p:nvSpPr>
        <p:spPr/>
        <p:txBody>
          <a:bodyPr/>
          <a:lstStyle/>
          <a:p>
            <a:fld id="{E917DE0E-AFB1-41FD-BC35-27DB61CA125F}" type="slidenum">
              <a:rPr lang="en-AU" smtClean="0"/>
              <a:pPr/>
              <a:t>11</a:t>
            </a:fld>
            <a:endParaRPr lang="en-AU" dirty="0"/>
          </a:p>
        </p:txBody>
      </p:sp>
      <p:graphicFrame>
        <p:nvGraphicFramePr>
          <p:cNvPr id="4" name="Object 3">
            <a:extLst>
              <a:ext uri="{FF2B5EF4-FFF2-40B4-BE49-F238E27FC236}">
                <a16:creationId xmlns:a16="http://schemas.microsoft.com/office/drawing/2014/main" id="{14964DEC-F3C9-ABEA-E434-5B22EAE521B4}"/>
              </a:ext>
            </a:extLst>
          </p:cNvPr>
          <p:cNvGraphicFramePr>
            <a:graphicFrameLocks noChangeAspect="1"/>
          </p:cNvGraphicFramePr>
          <p:nvPr/>
        </p:nvGraphicFramePr>
        <p:xfrm>
          <a:off x="696913" y="1068388"/>
          <a:ext cx="5124450" cy="4722812"/>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4" name="Object 3">
                        <a:extLst>
                          <a:ext uri="{FF2B5EF4-FFF2-40B4-BE49-F238E27FC236}">
                            <a16:creationId xmlns:a16="http://schemas.microsoft.com/office/drawing/2014/main" id="{14964DEC-F3C9-ABEA-E434-5B22EAE521B4}"/>
                          </a:ext>
                        </a:extLst>
                      </p:cNvPr>
                      <p:cNvPicPr/>
                      <p:nvPr/>
                    </p:nvPicPr>
                    <p:blipFill>
                      <a:blip r:embed="rId4"/>
                      <a:stretch>
                        <a:fillRect/>
                      </a:stretch>
                    </p:blipFill>
                    <p:spPr>
                      <a:xfrm>
                        <a:off x="696913" y="1068388"/>
                        <a:ext cx="5124450" cy="4722812"/>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AB8A3E03-7658-11AF-41F7-D386CA23367D}"/>
              </a:ext>
            </a:extLst>
          </p:cNvPr>
          <p:cNvSpPr txBox="1"/>
          <p:nvPr/>
        </p:nvSpPr>
        <p:spPr>
          <a:xfrm>
            <a:off x="6523453" y="5806826"/>
            <a:ext cx="4824611" cy="338554"/>
          </a:xfrm>
          <a:prstGeom prst="rect">
            <a:avLst/>
          </a:prstGeom>
          <a:noFill/>
        </p:spPr>
        <p:txBody>
          <a:bodyPr wrap="square" rtlCol="0">
            <a:spAutoFit/>
          </a:bodyPr>
          <a:lstStyle/>
          <a:p>
            <a:r>
              <a:rPr lang="en-AU" sz="800" b="0" i="1" dirty="0">
                <a:solidFill>
                  <a:srgbClr val="2D3636"/>
                </a:solidFill>
                <a:effectLst/>
                <a:latin typeface="Source Sans Pro" panose="020B0503030403020204" pitchFamily="34" charset="0"/>
              </a:rPr>
              <a:t>Note: Debt scenarios from </a:t>
            </a:r>
            <a:r>
              <a:rPr lang="en-US" sz="800" i="1" dirty="0">
                <a:solidFill>
                  <a:srgbClr val="2D3636"/>
                </a:solidFill>
                <a:latin typeface="Source Sans Pro" panose="020B0503030403020204" pitchFamily="34" charset="0"/>
              </a:rPr>
              <a:t>CBO's May 2025 report ‘</a:t>
            </a:r>
            <a:r>
              <a:rPr lang="en-US" sz="800" dirty="0">
                <a:solidFill>
                  <a:srgbClr val="2D3636"/>
                </a:solidFill>
                <a:latin typeface="Source Sans Pro" panose="020B0503030403020204" pitchFamily="34" charset="0"/>
              </a:rPr>
              <a:t>The Long-Term Budget Outlook Under Alternative Scenarios for the Economy and the Budget</a:t>
            </a:r>
            <a:r>
              <a:rPr lang="en-US" sz="800" i="1" dirty="0">
                <a:solidFill>
                  <a:srgbClr val="2D3636"/>
                </a:solidFill>
                <a:latin typeface="Source Sans Pro" panose="020B0503030403020204" pitchFamily="34" charset="0"/>
              </a:rPr>
              <a:t>’. Sensitivity of yields to debt based on QTC analysis of </a:t>
            </a:r>
            <a:r>
              <a:rPr lang="en-AU" sz="800" b="0" i="1" dirty="0">
                <a:solidFill>
                  <a:srgbClr val="2D3636"/>
                </a:solidFill>
                <a:effectLst/>
                <a:latin typeface="Source Sans Pro" panose="020B0503030403020204" pitchFamily="34" charset="0"/>
              </a:rPr>
              <a:t>studies referred to  </a:t>
            </a:r>
            <a:r>
              <a:rPr lang="en-AU" sz="800" b="0" i="1" u="none" strike="noStrike" dirty="0">
                <a:solidFill>
                  <a:srgbClr val="071599"/>
                </a:solidFill>
                <a:effectLst/>
                <a:latin typeface="Source Sans Pro" panose="020B0503030403020204" pitchFamily="34" charset="0"/>
                <a:hlinkClick r:id="rId5"/>
              </a:rPr>
              <a:t>here</a:t>
            </a:r>
            <a:endParaRPr lang="en-AU" sz="800" dirty="0"/>
          </a:p>
        </p:txBody>
      </p:sp>
      <p:pic>
        <p:nvPicPr>
          <p:cNvPr id="5" name="Picture 4">
            <a:extLst>
              <a:ext uri="{FF2B5EF4-FFF2-40B4-BE49-F238E27FC236}">
                <a16:creationId xmlns:a16="http://schemas.microsoft.com/office/drawing/2014/main" id="{689F44AA-FEB7-C77F-BDC5-4505613C672E}"/>
              </a:ext>
            </a:extLst>
          </p:cNvPr>
          <p:cNvPicPr>
            <a:picLocks noChangeAspect="1"/>
          </p:cNvPicPr>
          <p:nvPr/>
        </p:nvPicPr>
        <p:blipFill>
          <a:blip r:embed="rId6"/>
          <a:stretch>
            <a:fillRect/>
          </a:stretch>
        </p:blipFill>
        <p:spPr>
          <a:xfrm>
            <a:off x="6234996" y="1474858"/>
            <a:ext cx="5401524" cy="4316342"/>
          </a:xfrm>
          <a:prstGeom prst="rect">
            <a:avLst/>
          </a:prstGeom>
        </p:spPr>
      </p:pic>
      <p:sp>
        <p:nvSpPr>
          <p:cNvPr id="6" name="TextBox 5">
            <a:extLst>
              <a:ext uri="{FF2B5EF4-FFF2-40B4-BE49-F238E27FC236}">
                <a16:creationId xmlns:a16="http://schemas.microsoft.com/office/drawing/2014/main" id="{9C2423B8-1730-7966-1B9E-81A88C6EADA6}"/>
              </a:ext>
            </a:extLst>
          </p:cNvPr>
          <p:cNvSpPr txBox="1"/>
          <p:nvPr/>
        </p:nvSpPr>
        <p:spPr>
          <a:xfrm>
            <a:off x="7059528" y="1068388"/>
            <a:ext cx="4288536" cy="276999"/>
          </a:xfrm>
          <a:prstGeom prst="rect">
            <a:avLst/>
          </a:prstGeom>
          <a:noFill/>
        </p:spPr>
        <p:txBody>
          <a:bodyPr wrap="square" rtlCol="0">
            <a:spAutoFit/>
          </a:bodyPr>
          <a:lstStyle/>
          <a:p>
            <a:r>
              <a:rPr lang="en-AU" sz="1200" b="1" dirty="0"/>
              <a:t>Impact on US Treasury real yields under different debt scenarios</a:t>
            </a:r>
          </a:p>
        </p:txBody>
      </p:sp>
    </p:spTree>
    <p:extLst>
      <p:ext uri="{BB962C8B-B14F-4D97-AF65-F5344CB8AC3E}">
        <p14:creationId xmlns:p14="http://schemas.microsoft.com/office/powerpoint/2010/main" val="1040832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6C45C-13A0-B374-89DB-5A68FF4ED36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9BA5814-F3DA-BACA-7AB4-B0799F419FA0}"/>
              </a:ext>
            </a:extLst>
          </p:cNvPr>
          <p:cNvSpPr>
            <a:spLocks noGrp="1"/>
          </p:cNvSpPr>
          <p:nvPr>
            <p:ph type="title"/>
          </p:nvPr>
        </p:nvSpPr>
        <p:spPr>
          <a:xfrm>
            <a:off x="733803" y="390670"/>
            <a:ext cx="11345736" cy="576264"/>
          </a:xfrm>
        </p:spPr>
        <p:txBody>
          <a:bodyPr/>
          <a:lstStyle/>
          <a:p>
            <a:r>
              <a:rPr lang="en-AU" dirty="0"/>
              <a:t>US risk premium – could this affect the US Dollar’s status as THE global reserve currency</a:t>
            </a:r>
          </a:p>
        </p:txBody>
      </p:sp>
      <p:sp>
        <p:nvSpPr>
          <p:cNvPr id="17" name="Slide Number Placeholder 16">
            <a:extLst>
              <a:ext uri="{FF2B5EF4-FFF2-40B4-BE49-F238E27FC236}">
                <a16:creationId xmlns:a16="http://schemas.microsoft.com/office/drawing/2014/main" id="{14582844-0170-32EB-3C63-2D0714C15E70}"/>
              </a:ext>
            </a:extLst>
          </p:cNvPr>
          <p:cNvSpPr>
            <a:spLocks noGrp="1"/>
          </p:cNvSpPr>
          <p:nvPr>
            <p:ph type="sldNum" sz="quarter" idx="16"/>
          </p:nvPr>
        </p:nvSpPr>
        <p:spPr/>
        <p:txBody>
          <a:bodyPr/>
          <a:lstStyle/>
          <a:p>
            <a:fld id="{E917DE0E-AFB1-41FD-BC35-27DB61CA125F}" type="slidenum">
              <a:rPr lang="en-AU" smtClean="0"/>
              <a:pPr/>
              <a:t>12</a:t>
            </a:fld>
            <a:endParaRPr lang="en-AU" dirty="0"/>
          </a:p>
        </p:txBody>
      </p:sp>
      <p:sp>
        <p:nvSpPr>
          <p:cNvPr id="5" name="TextBox 4">
            <a:extLst>
              <a:ext uri="{FF2B5EF4-FFF2-40B4-BE49-F238E27FC236}">
                <a16:creationId xmlns:a16="http://schemas.microsoft.com/office/drawing/2014/main" id="{3B301107-3CAC-9F83-58E3-DD284F480EB5}"/>
              </a:ext>
            </a:extLst>
          </p:cNvPr>
          <p:cNvSpPr txBox="1"/>
          <p:nvPr/>
        </p:nvSpPr>
        <p:spPr>
          <a:xfrm>
            <a:off x="6406671" y="1385092"/>
            <a:ext cx="4867881" cy="2092881"/>
          </a:xfrm>
          <a:prstGeom prst="rect">
            <a:avLst/>
          </a:prstGeom>
          <a:solidFill>
            <a:schemeClr val="accent5">
              <a:lumMod val="20000"/>
              <a:lumOff val="80000"/>
            </a:schemeClr>
          </a:solidFill>
        </p:spPr>
        <p:txBody>
          <a:bodyPr wrap="square" rtlCol="0">
            <a:spAutoFit/>
          </a:bodyPr>
          <a:lstStyle/>
          <a:p>
            <a:pPr marL="285750" indent="-285750">
              <a:buClr>
                <a:srgbClr val="083A90"/>
              </a:buClr>
              <a:buFont typeface="Wingdings" panose="05000000000000000000" pitchFamily="2" charset="2"/>
              <a:buChar char="§"/>
            </a:pPr>
            <a:r>
              <a:rPr lang="en-AU" dirty="0"/>
              <a:t>Possible “weaponisation” of the Dollar via sanctions</a:t>
            </a:r>
          </a:p>
          <a:p>
            <a:pPr marL="285750" indent="-285750">
              <a:buClr>
                <a:srgbClr val="083A90"/>
              </a:buClr>
              <a:buFont typeface="Wingdings" panose="05000000000000000000" pitchFamily="2" charset="2"/>
              <a:buChar char="§"/>
            </a:pPr>
            <a:r>
              <a:rPr lang="en-AU" dirty="0"/>
              <a:t>Geopolitical alignment in a multi-polar world</a:t>
            </a:r>
          </a:p>
          <a:p>
            <a:pPr marL="285750" indent="-285750">
              <a:buClr>
                <a:srgbClr val="083A90"/>
              </a:buClr>
              <a:buFont typeface="Wingdings" panose="05000000000000000000" pitchFamily="2" charset="2"/>
              <a:buChar char="§"/>
            </a:pPr>
            <a:r>
              <a:rPr lang="en-AU" dirty="0"/>
              <a:t>Governance concerns (willingness to repay debt)</a:t>
            </a:r>
          </a:p>
          <a:p>
            <a:pPr marL="285750" indent="-285750">
              <a:buClr>
                <a:srgbClr val="083A90"/>
              </a:buClr>
              <a:buFont typeface="Wingdings" panose="05000000000000000000" pitchFamily="2" charset="2"/>
              <a:buChar char="§"/>
            </a:pPr>
            <a:r>
              <a:rPr lang="en-AU" dirty="0"/>
              <a:t>Fiscal concerns (ability to repay debt)</a:t>
            </a:r>
          </a:p>
          <a:p>
            <a:pPr marL="285750" indent="-285750">
              <a:buClr>
                <a:srgbClr val="083A90"/>
              </a:buClr>
              <a:buFont typeface="Wingdings" panose="05000000000000000000" pitchFamily="2" charset="2"/>
              <a:buChar char="§"/>
            </a:pPr>
            <a:r>
              <a:rPr lang="en-AU" dirty="0"/>
              <a:t>Rising role for alternatives</a:t>
            </a:r>
          </a:p>
        </p:txBody>
      </p:sp>
      <p:sp>
        <p:nvSpPr>
          <p:cNvPr id="9" name="TextBox 8">
            <a:extLst>
              <a:ext uri="{FF2B5EF4-FFF2-40B4-BE49-F238E27FC236}">
                <a16:creationId xmlns:a16="http://schemas.microsoft.com/office/drawing/2014/main" id="{15184210-8BEA-B2E0-D52C-59F0D6B8A091}"/>
              </a:ext>
            </a:extLst>
          </p:cNvPr>
          <p:cNvSpPr txBox="1"/>
          <p:nvPr/>
        </p:nvSpPr>
        <p:spPr>
          <a:xfrm>
            <a:off x="6591956" y="1108093"/>
            <a:ext cx="5820706" cy="276999"/>
          </a:xfrm>
          <a:prstGeom prst="rect">
            <a:avLst/>
          </a:prstGeom>
          <a:noFill/>
        </p:spPr>
        <p:txBody>
          <a:bodyPr wrap="square" rtlCol="0">
            <a:spAutoFit/>
          </a:bodyPr>
          <a:lstStyle/>
          <a:p>
            <a:r>
              <a:rPr lang="en-US" sz="1200" b="1" dirty="0"/>
              <a:t>Why might the US’ role as THE global reserve currency decline?</a:t>
            </a:r>
          </a:p>
        </p:txBody>
      </p:sp>
      <p:graphicFrame>
        <p:nvGraphicFramePr>
          <p:cNvPr id="10" name="Object 9">
            <a:extLst>
              <a:ext uri="{FF2B5EF4-FFF2-40B4-BE49-F238E27FC236}">
                <a16:creationId xmlns:a16="http://schemas.microsoft.com/office/drawing/2014/main" id="{CF6F5B39-867E-B8C2-81B7-C588E20B1EA9}"/>
              </a:ext>
            </a:extLst>
          </p:cNvPr>
          <p:cNvGraphicFramePr>
            <a:graphicFrameLocks noChangeAspect="1"/>
          </p:cNvGraphicFramePr>
          <p:nvPr>
            <p:extLst>
              <p:ext uri="{D42A27DB-BD31-4B8C-83A1-F6EECF244321}">
                <p14:modId xmlns:p14="http://schemas.microsoft.com/office/powerpoint/2010/main" val="3719690878"/>
              </p:ext>
            </p:extLst>
          </p:nvPr>
        </p:nvGraphicFramePr>
        <p:xfrm>
          <a:off x="485136" y="1477220"/>
          <a:ext cx="5124450" cy="4722813"/>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10" name="Object 9">
                        <a:extLst>
                          <a:ext uri="{FF2B5EF4-FFF2-40B4-BE49-F238E27FC236}">
                            <a16:creationId xmlns:a16="http://schemas.microsoft.com/office/drawing/2014/main" id="{CF6F5B39-867E-B8C2-81B7-C588E20B1EA9}"/>
                          </a:ext>
                        </a:extLst>
                      </p:cNvPr>
                      <p:cNvPicPr/>
                      <p:nvPr/>
                    </p:nvPicPr>
                    <p:blipFill>
                      <a:blip r:embed="rId4"/>
                      <a:stretch>
                        <a:fillRect/>
                      </a:stretch>
                    </p:blipFill>
                    <p:spPr>
                      <a:xfrm>
                        <a:off x="485136" y="1477220"/>
                        <a:ext cx="5124450" cy="4722813"/>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0650B5E3-29EB-3A13-71E2-C6A9EEE2D3B3}"/>
              </a:ext>
            </a:extLst>
          </p:cNvPr>
          <p:cNvSpPr txBox="1"/>
          <p:nvPr/>
        </p:nvSpPr>
        <p:spPr>
          <a:xfrm>
            <a:off x="6406671" y="3922282"/>
            <a:ext cx="4948123" cy="2539157"/>
          </a:xfrm>
          <a:prstGeom prst="rect">
            <a:avLst/>
          </a:prstGeom>
          <a:solidFill>
            <a:schemeClr val="accent6">
              <a:lumMod val="20000"/>
              <a:lumOff val="80000"/>
            </a:schemeClr>
          </a:solidFill>
        </p:spPr>
        <p:txBody>
          <a:bodyPr wrap="square" rtlCol="0">
            <a:spAutoFit/>
          </a:bodyPr>
          <a:lstStyle/>
          <a:p>
            <a:pPr marL="285750" indent="-285750">
              <a:buClr>
                <a:srgbClr val="083A90"/>
              </a:buClr>
              <a:buFont typeface="Wingdings" panose="05000000000000000000" pitchFamily="2" charset="2"/>
              <a:buChar char="§"/>
            </a:pPr>
            <a:r>
              <a:rPr lang="en-AU" dirty="0"/>
              <a:t>Political process</a:t>
            </a:r>
          </a:p>
          <a:p>
            <a:pPr marL="285750" indent="-285750">
              <a:buClr>
                <a:srgbClr val="083A90"/>
              </a:buClr>
              <a:buFont typeface="Wingdings" panose="05000000000000000000" pitchFamily="2" charset="2"/>
              <a:buChar char="§"/>
            </a:pPr>
            <a:r>
              <a:rPr lang="en-AU" dirty="0"/>
              <a:t>Separation of powers</a:t>
            </a:r>
          </a:p>
          <a:p>
            <a:pPr marL="285750" indent="-285750">
              <a:buClr>
                <a:srgbClr val="083A90"/>
              </a:buClr>
              <a:buFont typeface="Wingdings" panose="05000000000000000000" pitchFamily="2" charset="2"/>
              <a:buChar char="§"/>
            </a:pPr>
            <a:r>
              <a:rPr lang="en-AU" dirty="0"/>
              <a:t>Rule of law</a:t>
            </a:r>
          </a:p>
          <a:p>
            <a:pPr marL="285750" indent="-285750">
              <a:buClr>
                <a:srgbClr val="083A90"/>
              </a:buClr>
              <a:buFont typeface="Wingdings" panose="05000000000000000000" pitchFamily="2" charset="2"/>
              <a:buChar char="§"/>
            </a:pPr>
            <a:r>
              <a:rPr lang="en-AU" dirty="0"/>
              <a:t>Independence of institutions</a:t>
            </a:r>
          </a:p>
          <a:p>
            <a:pPr marL="285750" indent="-285750">
              <a:buClr>
                <a:srgbClr val="083A90"/>
              </a:buClr>
              <a:buFont typeface="Wingdings" panose="05000000000000000000" pitchFamily="2" charset="2"/>
              <a:buChar char="§"/>
            </a:pPr>
            <a:r>
              <a:rPr lang="en-US" dirty="0"/>
              <a:t>Capacity of institutions to discharge public good</a:t>
            </a:r>
          </a:p>
          <a:p>
            <a:pPr marL="285750" indent="-285750">
              <a:buClr>
                <a:srgbClr val="083A90"/>
              </a:buClr>
              <a:buFont typeface="Wingdings" panose="05000000000000000000" pitchFamily="2" charset="2"/>
              <a:buChar char="§"/>
            </a:pPr>
            <a:r>
              <a:rPr lang="en-AU" dirty="0"/>
              <a:t>Credibility of policymaking</a:t>
            </a:r>
          </a:p>
        </p:txBody>
      </p:sp>
      <p:sp>
        <p:nvSpPr>
          <p:cNvPr id="8" name="TextBox 7">
            <a:extLst>
              <a:ext uri="{FF2B5EF4-FFF2-40B4-BE49-F238E27FC236}">
                <a16:creationId xmlns:a16="http://schemas.microsoft.com/office/drawing/2014/main" id="{CF003324-A799-95C0-E4FC-BDD7A03EC364}"/>
              </a:ext>
            </a:extLst>
          </p:cNvPr>
          <p:cNvSpPr txBox="1"/>
          <p:nvPr/>
        </p:nvSpPr>
        <p:spPr>
          <a:xfrm>
            <a:off x="6585589" y="3561628"/>
            <a:ext cx="4590288" cy="276999"/>
          </a:xfrm>
          <a:prstGeom prst="rect">
            <a:avLst/>
          </a:prstGeom>
          <a:noFill/>
        </p:spPr>
        <p:txBody>
          <a:bodyPr wrap="square" rtlCol="0">
            <a:spAutoFit/>
          </a:bodyPr>
          <a:lstStyle/>
          <a:p>
            <a:r>
              <a:rPr lang="en-US" sz="1200" b="1" dirty="0"/>
              <a:t>Areas where there might be rising governance concerns for the US</a:t>
            </a:r>
            <a:endParaRPr lang="en-AU" sz="1200" b="1" dirty="0"/>
          </a:p>
        </p:txBody>
      </p:sp>
      <p:sp>
        <p:nvSpPr>
          <p:cNvPr id="2" name="TextBox 1">
            <a:extLst>
              <a:ext uri="{FF2B5EF4-FFF2-40B4-BE49-F238E27FC236}">
                <a16:creationId xmlns:a16="http://schemas.microsoft.com/office/drawing/2014/main" id="{9C09A241-1EB2-697B-0EC8-68547B8BEB3C}"/>
              </a:ext>
            </a:extLst>
          </p:cNvPr>
          <p:cNvSpPr txBox="1"/>
          <p:nvPr/>
        </p:nvSpPr>
        <p:spPr>
          <a:xfrm>
            <a:off x="12278302" y="1983179"/>
            <a:ext cx="2031463" cy="369332"/>
          </a:xfrm>
          <a:prstGeom prst="rect">
            <a:avLst/>
          </a:prstGeom>
          <a:solidFill>
            <a:schemeClr val="bg1"/>
          </a:solidFill>
        </p:spPr>
        <p:txBody>
          <a:bodyPr wrap="square" rtlCol="0">
            <a:spAutoFit/>
          </a:bodyPr>
          <a:lstStyle/>
          <a:p>
            <a:r>
              <a:rPr lang="en-AU" sz="1800" dirty="0">
                <a:solidFill>
                  <a:schemeClr val="accent1">
                    <a:lumMod val="75000"/>
                  </a:schemeClr>
                </a:solidFill>
              </a:rPr>
              <a:t>A great question!</a:t>
            </a:r>
          </a:p>
        </p:txBody>
      </p:sp>
    </p:spTree>
    <p:extLst>
      <p:ext uri="{BB962C8B-B14F-4D97-AF65-F5344CB8AC3E}">
        <p14:creationId xmlns:p14="http://schemas.microsoft.com/office/powerpoint/2010/main" val="1554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EB81A-E0CF-AD01-8E73-38C17C3F0F09}"/>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494517B7-877D-A847-A6BF-C637E2415BBC}"/>
              </a:ext>
            </a:extLst>
          </p:cNvPr>
          <p:cNvSpPr>
            <a:spLocks noGrp="1"/>
          </p:cNvSpPr>
          <p:nvPr>
            <p:ph type="body" idx="18"/>
          </p:nvPr>
        </p:nvSpPr>
        <p:spPr>
          <a:xfrm>
            <a:off x="731450" y="2757237"/>
            <a:ext cx="10926762" cy="1345114"/>
          </a:xfrm>
        </p:spPr>
        <p:txBody>
          <a:bodyPr/>
          <a:lstStyle/>
          <a:p>
            <a:r>
              <a:rPr lang="en-AU" dirty="0"/>
              <a:t>Global economy – </a:t>
            </a:r>
            <a:r>
              <a:rPr lang="en-US" dirty="0"/>
              <a:t>Could we see a correction to the AI-</a:t>
            </a:r>
            <a:r>
              <a:rPr lang="en-US" dirty="0" err="1"/>
              <a:t>fuelled</a:t>
            </a:r>
            <a:r>
              <a:rPr lang="en-US" dirty="0"/>
              <a:t> equity rally?</a:t>
            </a:r>
            <a:endParaRPr lang="en-AU" dirty="0"/>
          </a:p>
        </p:txBody>
      </p:sp>
      <p:sp>
        <p:nvSpPr>
          <p:cNvPr id="6" name="Slide Number Placeholder 5">
            <a:extLst>
              <a:ext uri="{FF2B5EF4-FFF2-40B4-BE49-F238E27FC236}">
                <a16:creationId xmlns:a16="http://schemas.microsoft.com/office/drawing/2014/main" id="{CA476CC0-E765-29FA-F179-ABAA5B41FD98}"/>
              </a:ext>
            </a:extLst>
          </p:cNvPr>
          <p:cNvSpPr>
            <a:spLocks noGrp="1"/>
          </p:cNvSpPr>
          <p:nvPr>
            <p:ph type="sldNum" sz="quarter" idx="20"/>
          </p:nvPr>
        </p:nvSpPr>
        <p:spPr/>
        <p:txBody>
          <a:bodyPr/>
          <a:lstStyle/>
          <a:p>
            <a:fld id="{E917DE0E-AFB1-41FD-BC35-27DB61CA125F}" type="slidenum">
              <a:rPr lang="en-AU" smtClean="0"/>
              <a:pPr/>
              <a:t>13</a:t>
            </a:fld>
            <a:endParaRPr lang="en-AU"/>
          </a:p>
        </p:txBody>
      </p:sp>
    </p:spTree>
    <p:extLst>
      <p:ext uri="{BB962C8B-B14F-4D97-AF65-F5344CB8AC3E}">
        <p14:creationId xmlns:p14="http://schemas.microsoft.com/office/powerpoint/2010/main" val="192541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8D772-B899-3DF2-248E-798244B7FF9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3B6613F-7DFA-D98A-9481-765BA959A10B}"/>
              </a:ext>
            </a:extLst>
          </p:cNvPr>
          <p:cNvSpPr>
            <a:spLocks noGrp="1"/>
          </p:cNvSpPr>
          <p:nvPr>
            <p:ph type="title"/>
          </p:nvPr>
        </p:nvSpPr>
        <p:spPr>
          <a:xfrm>
            <a:off x="696912" y="117426"/>
            <a:ext cx="10801350" cy="576264"/>
          </a:xfrm>
        </p:spPr>
        <p:txBody>
          <a:bodyPr/>
          <a:lstStyle/>
          <a:p>
            <a:r>
              <a:rPr lang="en-AU" dirty="0"/>
              <a:t>AI adoption</a:t>
            </a:r>
          </a:p>
        </p:txBody>
      </p:sp>
      <p:sp>
        <p:nvSpPr>
          <p:cNvPr id="17" name="Slide Number Placeholder 16">
            <a:extLst>
              <a:ext uri="{FF2B5EF4-FFF2-40B4-BE49-F238E27FC236}">
                <a16:creationId xmlns:a16="http://schemas.microsoft.com/office/drawing/2014/main" id="{0D8F1A5F-22CD-EE7D-CB5A-C6E92F7F8525}"/>
              </a:ext>
            </a:extLst>
          </p:cNvPr>
          <p:cNvSpPr>
            <a:spLocks noGrp="1"/>
          </p:cNvSpPr>
          <p:nvPr>
            <p:ph type="sldNum" sz="quarter" idx="16"/>
          </p:nvPr>
        </p:nvSpPr>
        <p:spPr/>
        <p:txBody>
          <a:bodyPr/>
          <a:lstStyle/>
          <a:p>
            <a:fld id="{E917DE0E-AFB1-41FD-BC35-27DB61CA125F}" type="slidenum">
              <a:rPr lang="en-AU" smtClean="0"/>
              <a:pPr/>
              <a:t>14</a:t>
            </a:fld>
            <a:endParaRPr lang="en-AU" dirty="0"/>
          </a:p>
        </p:txBody>
      </p:sp>
      <p:sp>
        <p:nvSpPr>
          <p:cNvPr id="8" name="TextBox 7">
            <a:extLst>
              <a:ext uri="{FF2B5EF4-FFF2-40B4-BE49-F238E27FC236}">
                <a16:creationId xmlns:a16="http://schemas.microsoft.com/office/drawing/2014/main" id="{5019436E-55E7-0ACD-4637-C20E2CC9BCB2}"/>
              </a:ext>
            </a:extLst>
          </p:cNvPr>
          <p:cNvSpPr txBox="1"/>
          <p:nvPr/>
        </p:nvSpPr>
        <p:spPr>
          <a:xfrm>
            <a:off x="696655" y="5013063"/>
            <a:ext cx="3932996" cy="307777"/>
          </a:xfrm>
          <a:prstGeom prst="rect">
            <a:avLst/>
          </a:prstGeom>
          <a:noFill/>
        </p:spPr>
        <p:txBody>
          <a:bodyPr wrap="square" rtlCol="0">
            <a:spAutoFit/>
          </a:bodyPr>
          <a:lstStyle/>
          <a:p>
            <a:r>
              <a:rPr lang="en-AU" dirty="0"/>
              <a:t>AI adoption is just beginning…</a:t>
            </a:r>
          </a:p>
        </p:txBody>
      </p:sp>
      <p:sp>
        <p:nvSpPr>
          <p:cNvPr id="9" name="TextBox 8">
            <a:extLst>
              <a:ext uri="{FF2B5EF4-FFF2-40B4-BE49-F238E27FC236}">
                <a16:creationId xmlns:a16="http://schemas.microsoft.com/office/drawing/2014/main" id="{AA9B08AD-D63B-CAE6-3EEC-965C73AC0A20}"/>
              </a:ext>
            </a:extLst>
          </p:cNvPr>
          <p:cNvSpPr txBox="1"/>
          <p:nvPr/>
        </p:nvSpPr>
        <p:spPr>
          <a:xfrm>
            <a:off x="9070530" y="5003540"/>
            <a:ext cx="4855464" cy="307777"/>
          </a:xfrm>
          <a:prstGeom prst="rect">
            <a:avLst/>
          </a:prstGeom>
          <a:noFill/>
        </p:spPr>
        <p:txBody>
          <a:bodyPr wrap="square" rtlCol="0">
            <a:spAutoFit/>
          </a:bodyPr>
          <a:lstStyle/>
          <a:p>
            <a:r>
              <a:rPr lang="en-US" dirty="0"/>
              <a:t>…and revenues for AI firms</a:t>
            </a:r>
            <a:endParaRPr lang="en-AU" dirty="0"/>
          </a:p>
        </p:txBody>
      </p:sp>
      <p:pic>
        <p:nvPicPr>
          <p:cNvPr id="12" name="Picture 11">
            <a:extLst>
              <a:ext uri="{FF2B5EF4-FFF2-40B4-BE49-F238E27FC236}">
                <a16:creationId xmlns:a16="http://schemas.microsoft.com/office/drawing/2014/main" id="{16B1116D-8CA8-F3F3-2346-50F8D3D53F43}"/>
              </a:ext>
            </a:extLst>
          </p:cNvPr>
          <p:cNvPicPr>
            <a:picLocks noChangeAspect="1"/>
          </p:cNvPicPr>
          <p:nvPr/>
        </p:nvPicPr>
        <p:blipFill>
          <a:blip r:embed="rId3"/>
          <a:stretch>
            <a:fillRect/>
          </a:stretch>
        </p:blipFill>
        <p:spPr>
          <a:xfrm>
            <a:off x="246058" y="1137744"/>
            <a:ext cx="3737422" cy="3428678"/>
          </a:xfrm>
          <a:prstGeom prst="rect">
            <a:avLst/>
          </a:prstGeom>
        </p:spPr>
      </p:pic>
      <p:sp>
        <p:nvSpPr>
          <p:cNvPr id="13" name="TextBox 12">
            <a:extLst>
              <a:ext uri="{FF2B5EF4-FFF2-40B4-BE49-F238E27FC236}">
                <a16:creationId xmlns:a16="http://schemas.microsoft.com/office/drawing/2014/main" id="{5C0CADAD-4E8F-23CD-6391-DC7A5E08FD94}"/>
              </a:ext>
            </a:extLst>
          </p:cNvPr>
          <p:cNvSpPr txBox="1"/>
          <p:nvPr/>
        </p:nvSpPr>
        <p:spPr>
          <a:xfrm>
            <a:off x="3983480" y="5013062"/>
            <a:ext cx="4475210" cy="307777"/>
          </a:xfrm>
          <a:prstGeom prst="rect">
            <a:avLst/>
          </a:prstGeom>
          <a:noFill/>
        </p:spPr>
        <p:txBody>
          <a:bodyPr wrap="square" rtlCol="0">
            <a:spAutoFit/>
          </a:bodyPr>
          <a:lstStyle/>
          <a:p>
            <a:r>
              <a:rPr lang="en-AU" dirty="0"/>
              <a:t>…which could lead to big gains to economic growth…</a:t>
            </a:r>
          </a:p>
        </p:txBody>
      </p:sp>
      <p:sp>
        <p:nvSpPr>
          <p:cNvPr id="15" name="TextBox 14">
            <a:extLst>
              <a:ext uri="{FF2B5EF4-FFF2-40B4-BE49-F238E27FC236}">
                <a16:creationId xmlns:a16="http://schemas.microsoft.com/office/drawing/2014/main" id="{422848D9-9EA6-924A-AD72-668FDC304F5A}"/>
              </a:ext>
            </a:extLst>
          </p:cNvPr>
          <p:cNvSpPr txBox="1"/>
          <p:nvPr/>
        </p:nvSpPr>
        <p:spPr>
          <a:xfrm>
            <a:off x="148270" y="6634440"/>
            <a:ext cx="5749609" cy="215444"/>
          </a:xfrm>
          <a:prstGeom prst="rect">
            <a:avLst/>
          </a:prstGeom>
          <a:noFill/>
        </p:spPr>
        <p:txBody>
          <a:bodyPr wrap="square" rtlCol="0">
            <a:spAutoFit/>
          </a:bodyPr>
          <a:lstStyle/>
          <a:p>
            <a:r>
              <a:rPr lang="en-AU" sz="800" dirty="0"/>
              <a:t>Source: </a:t>
            </a:r>
            <a:r>
              <a:rPr lang="en-US" sz="800" dirty="0"/>
              <a:t>Upgrading Our Longer-Run Global Growth Forecasts to Reflect the Impact of Generative AI, Goldman Sachs, 29 October 2023</a:t>
            </a:r>
            <a:endParaRPr lang="en-AU" sz="800" dirty="0"/>
          </a:p>
        </p:txBody>
      </p:sp>
      <p:pic>
        <p:nvPicPr>
          <p:cNvPr id="16" name="Picture 15">
            <a:extLst>
              <a:ext uri="{FF2B5EF4-FFF2-40B4-BE49-F238E27FC236}">
                <a16:creationId xmlns:a16="http://schemas.microsoft.com/office/drawing/2014/main" id="{F076AD79-7825-AA35-DE63-ACBEAEEB4627}"/>
              </a:ext>
            </a:extLst>
          </p:cNvPr>
          <p:cNvPicPr>
            <a:picLocks noChangeAspect="1"/>
          </p:cNvPicPr>
          <p:nvPr/>
        </p:nvPicPr>
        <p:blipFill>
          <a:blip r:embed="rId4"/>
          <a:stretch>
            <a:fillRect/>
          </a:stretch>
        </p:blipFill>
        <p:spPr>
          <a:xfrm>
            <a:off x="3983480" y="1137745"/>
            <a:ext cx="3901065" cy="3428677"/>
          </a:xfrm>
          <a:prstGeom prst="rect">
            <a:avLst/>
          </a:prstGeom>
        </p:spPr>
      </p:pic>
      <p:cxnSp>
        <p:nvCxnSpPr>
          <p:cNvPr id="19" name="Straight Connector 18">
            <a:extLst>
              <a:ext uri="{FF2B5EF4-FFF2-40B4-BE49-F238E27FC236}">
                <a16:creationId xmlns:a16="http://schemas.microsoft.com/office/drawing/2014/main" id="{2118ABDB-B912-DA05-64C2-60BC7F3BC61F}"/>
              </a:ext>
            </a:extLst>
          </p:cNvPr>
          <p:cNvCxnSpPr>
            <a:cxnSpLocks/>
          </p:cNvCxnSpPr>
          <p:nvPr/>
        </p:nvCxnSpPr>
        <p:spPr>
          <a:xfrm>
            <a:off x="7445266" y="2474233"/>
            <a:ext cx="0" cy="4572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99E768F-5EE9-DA68-A303-756BBD5F0F0B}"/>
              </a:ext>
            </a:extLst>
          </p:cNvPr>
          <p:cNvCxnSpPr>
            <a:cxnSpLocks/>
          </p:cNvCxnSpPr>
          <p:nvPr/>
        </p:nvCxnSpPr>
        <p:spPr>
          <a:xfrm>
            <a:off x="7377388" y="2933688"/>
            <a:ext cx="135755"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0AAA055-78F6-7FED-5580-A6FE8748C6EC}"/>
              </a:ext>
            </a:extLst>
          </p:cNvPr>
          <p:cNvSpPr txBox="1"/>
          <p:nvPr/>
        </p:nvSpPr>
        <p:spPr>
          <a:xfrm>
            <a:off x="6748442" y="2607155"/>
            <a:ext cx="663343" cy="246221"/>
          </a:xfrm>
          <a:prstGeom prst="rect">
            <a:avLst/>
          </a:prstGeom>
          <a:noFill/>
        </p:spPr>
        <p:txBody>
          <a:bodyPr wrap="square" rtlCol="0">
            <a:spAutoFit/>
          </a:bodyPr>
          <a:lstStyle/>
          <a:p>
            <a:r>
              <a:rPr lang="en-AU" sz="1000" b="1" dirty="0">
                <a:solidFill>
                  <a:schemeClr val="accent1"/>
                </a:solidFill>
              </a:rPr>
              <a:t>~1/2 ppt</a:t>
            </a:r>
          </a:p>
        </p:txBody>
      </p:sp>
      <p:cxnSp>
        <p:nvCxnSpPr>
          <p:cNvPr id="31" name="Straight Arrow Connector 30">
            <a:extLst>
              <a:ext uri="{FF2B5EF4-FFF2-40B4-BE49-F238E27FC236}">
                <a16:creationId xmlns:a16="http://schemas.microsoft.com/office/drawing/2014/main" id="{E2A5B471-8651-8E80-1BE9-AB1F6406F5BF}"/>
              </a:ext>
            </a:extLst>
          </p:cNvPr>
          <p:cNvCxnSpPr/>
          <p:nvPr/>
        </p:nvCxnSpPr>
        <p:spPr>
          <a:xfrm>
            <a:off x="1129728" y="3429794"/>
            <a:ext cx="0" cy="502126"/>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456E364-1775-8829-EE80-6645A47CAEB3}"/>
              </a:ext>
            </a:extLst>
          </p:cNvPr>
          <p:cNvSpPr txBox="1"/>
          <p:nvPr/>
        </p:nvSpPr>
        <p:spPr>
          <a:xfrm>
            <a:off x="696655" y="3184367"/>
            <a:ext cx="866146" cy="246221"/>
          </a:xfrm>
          <a:prstGeom prst="rect">
            <a:avLst/>
          </a:prstGeom>
          <a:noFill/>
        </p:spPr>
        <p:txBody>
          <a:bodyPr wrap="square" rtlCol="0">
            <a:spAutoFit/>
          </a:bodyPr>
          <a:lstStyle/>
          <a:p>
            <a:r>
              <a:rPr lang="en-AU" sz="1000" b="1" dirty="0">
                <a:solidFill>
                  <a:schemeClr val="accent1"/>
                </a:solidFill>
              </a:rPr>
              <a:t>We are here</a:t>
            </a:r>
          </a:p>
        </p:txBody>
      </p:sp>
      <p:sp>
        <p:nvSpPr>
          <p:cNvPr id="33" name="TextBox 32">
            <a:extLst>
              <a:ext uri="{FF2B5EF4-FFF2-40B4-BE49-F238E27FC236}">
                <a16:creationId xmlns:a16="http://schemas.microsoft.com/office/drawing/2014/main" id="{7D5BBE5C-6F17-0175-5660-42701CA94C4E}"/>
              </a:ext>
            </a:extLst>
          </p:cNvPr>
          <p:cNvSpPr txBox="1"/>
          <p:nvPr/>
        </p:nvSpPr>
        <p:spPr>
          <a:xfrm>
            <a:off x="148270" y="6536240"/>
            <a:ext cx="5328985" cy="215444"/>
          </a:xfrm>
          <a:prstGeom prst="rect">
            <a:avLst/>
          </a:prstGeom>
          <a:noFill/>
        </p:spPr>
        <p:txBody>
          <a:bodyPr wrap="square" rtlCol="0">
            <a:spAutoFit/>
          </a:bodyPr>
          <a:lstStyle/>
          <a:p>
            <a:r>
              <a:rPr lang="en-AU" sz="800" dirty="0"/>
              <a:t>Source: </a:t>
            </a:r>
            <a:r>
              <a:rPr lang="en-US" sz="800" dirty="0"/>
              <a:t>The AI Transition One Year Later: On Track, but Macro Impact Still Several Years Off (Goldman Sachs, 2 April 2024)</a:t>
            </a:r>
            <a:endParaRPr lang="en-AU" sz="800" dirty="0"/>
          </a:p>
        </p:txBody>
      </p:sp>
      <p:cxnSp>
        <p:nvCxnSpPr>
          <p:cNvPr id="35" name="Straight Connector 34">
            <a:extLst>
              <a:ext uri="{FF2B5EF4-FFF2-40B4-BE49-F238E27FC236}">
                <a16:creationId xmlns:a16="http://schemas.microsoft.com/office/drawing/2014/main" id="{BF4523F0-B12B-9A64-23A1-A929BA3C555C}"/>
              </a:ext>
            </a:extLst>
          </p:cNvPr>
          <p:cNvCxnSpPr>
            <a:cxnSpLocks/>
          </p:cNvCxnSpPr>
          <p:nvPr/>
        </p:nvCxnSpPr>
        <p:spPr>
          <a:xfrm>
            <a:off x="7372113" y="2474233"/>
            <a:ext cx="127830"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AF8F4EEC-BBD1-3643-3FEC-A8935DC5BD28}"/>
              </a:ext>
            </a:extLst>
          </p:cNvPr>
          <p:cNvPicPr>
            <a:picLocks noChangeAspect="1"/>
          </p:cNvPicPr>
          <p:nvPr/>
        </p:nvPicPr>
        <p:blipFill>
          <a:blip r:embed="rId5"/>
          <a:stretch>
            <a:fillRect/>
          </a:stretch>
        </p:blipFill>
        <p:spPr>
          <a:xfrm>
            <a:off x="7952423" y="1137744"/>
            <a:ext cx="3969720" cy="3428676"/>
          </a:xfrm>
          <a:prstGeom prst="rect">
            <a:avLst/>
          </a:prstGeom>
        </p:spPr>
      </p:pic>
      <p:sp>
        <p:nvSpPr>
          <p:cNvPr id="44" name="TextBox 43">
            <a:extLst>
              <a:ext uri="{FF2B5EF4-FFF2-40B4-BE49-F238E27FC236}">
                <a16:creationId xmlns:a16="http://schemas.microsoft.com/office/drawing/2014/main" id="{12917C2A-AB19-A874-D80F-05AAB8F96DEB}"/>
              </a:ext>
            </a:extLst>
          </p:cNvPr>
          <p:cNvSpPr txBox="1"/>
          <p:nvPr/>
        </p:nvSpPr>
        <p:spPr>
          <a:xfrm>
            <a:off x="148270" y="6438040"/>
            <a:ext cx="4890073" cy="215444"/>
          </a:xfrm>
          <a:prstGeom prst="rect">
            <a:avLst/>
          </a:prstGeom>
          <a:noFill/>
        </p:spPr>
        <p:txBody>
          <a:bodyPr wrap="square" rtlCol="0">
            <a:spAutoFit/>
          </a:bodyPr>
          <a:lstStyle/>
          <a:p>
            <a:r>
              <a:rPr lang="en-AU" sz="800" dirty="0"/>
              <a:t>Source: </a:t>
            </a:r>
            <a:r>
              <a:rPr lang="en-US" sz="800" dirty="0"/>
              <a:t>The AI Spending Boom Is Not Too Big, Goldman Sachs, 15 October 2025</a:t>
            </a:r>
            <a:endParaRPr lang="en-AU" sz="800" dirty="0"/>
          </a:p>
        </p:txBody>
      </p:sp>
    </p:spTree>
    <p:extLst>
      <p:ext uri="{BB962C8B-B14F-4D97-AF65-F5344CB8AC3E}">
        <p14:creationId xmlns:p14="http://schemas.microsoft.com/office/powerpoint/2010/main" val="6573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F2E0F-9EFB-703A-6A4B-D9F9646578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10EE1E0-19D0-020C-2D10-54F1A16372DB}"/>
              </a:ext>
            </a:extLst>
          </p:cNvPr>
          <p:cNvSpPr>
            <a:spLocks noGrp="1"/>
          </p:cNvSpPr>
          <p:nvPr>
            <p:ph type="title"/>
          </p:nvPr>
        </p:nvSpPr>
        <p:spPr>
          <a:xfrm>
            <a:off x="696911" y="66756"/>
            <a:ext cx="10801350" cy="576264"/>
          </a:xfrm>
        </p:spPr>
        <p:txBody>
          <a:bodyPr/>
          <a:lstStyle/>
          <a:p>
            <a:r>
              <a:rPr lang="en-AU" dirty="0"/>
              <a:t>AI &amp; investment</a:t>
            </a:r>
          </a:p>
        </p:txBody>
      </p:sp>
      <p:sp>
        <p:nvSpPr>
          <p:cNvPr id="17" name="Slide Number Placeholder 16">
            <a:extLst>
              <a:ext uri="{FF2B5EF4-FFF2-40B4-BE49-F238E27FC236}">
                <a16:creationId xmlns:a16="http://schemas.microsoft.com/office/drawing/2014/main" id="{7A146E79-22A1-75DA-E538-EB5A083E3CB1}"/>
              </a:ext>
            </a:extLst>
          </p:cNvPr>
          <p:cNvSpPr>
            <a:spLocks noGrp="1"/>
          </p:cNvSpPr>
          <p:nvPr>
            <p:ph type="sldNum" sz="quarter" idx="16"/>
          </p:nvPr>
        </p:nvSpPr>
        <p:spPr/>
        <p:txBody>
          <a:bodyPr/>
          <a:lstStyle/>
          <a:p>
            <a:fld id="{E917DE0E-AFB1-41FD-BC35-27DB61CA125F}" type="slidenum">
              <a:rPr lang="en-AU" smtClean="0"/>
              <a:pPr/>
              <a:t>15</a:t>
            </a:fld>
            <a:endParaRPr lang="en-AU" dirty="0"/>
          </a:p>
        </p:txBody>
      </p:sp>
      <p:sp>
        <p:nvSpPr>
          <p:cNvPr id="13" name="TextBox 12">
            <a:extLst>
              <a:ext uri="{FF2B5EF4-FFF2-40B4-BE49-F238E27FC236}">
                <a16:creationId xmlns:a16="http://schemas.microsoft.com/office/drawing/2014/main" id="{2A9DD2CF-FB30-E265-76C0-EF1DA9DDD783}"/>
              </a:ext>
            </a:extLst>
          </p:cNvPr>
          <p:cNvSpPr txBox="1"/>
          <p:nvPr/>
        </p:nvSpPr>
        <p:spPr>
          <a:xfrm>
            <a:off x="640095" y="5107835"/>
            <a:ext cx="3887567" cy="307777"/>
          </a:xfrm>
          <a:prstGeom prst="rect">
            <a:avLst/>
          </a:prstGeom>
          <a:noFill/>
        </p:spPr>
        <p:txBody>
          <a:bodyPr wrap="square" rtlCol="0">
            <a:spAutoFit/>
          </a:bodyPr>
          <a:lstStyle/>
          <a:p>
            <a:r>
              <a:rPr lang="en-AU" dirty="0"/>
              <a:t>There are concerns about over-investment…</a:t>
            </a:r>
          </a:p>
        </p:txBody>
      </p:sp>
      <p:sp>
        <p:nvSpPr>
          <p:cNvPr id="14" name="TextBox 13">
            <a:extLst>
              <a:ext uri="{FF2B5EF4-FFF2-40B4-BE49-F238E27FC236}">
                <a16:creationId xmlns:a16="http://schemas.microsoft.com/office/drawing/2014/main" id="{F147456B-A2C6-74D5-D235-1548C6575371}"/>
              </a:ext>
            </a:extLst>
          </p:cNvPr>
          <p:cNvSpPr txBox="1"/>
          <p:nvPr/>
        </p:nvSpPr>
        <p:spPr>
          <a:xfrm>
            <a:off x="148270" y="6646068"/>
            <a:ext cx="4890073" cy="215444"/>
          </a:xfrm>
          <a:prstGeom prst="rect">
            <a:avLst/>
          </a:prstGeom>
          <a:noFill/>
        </p:spPr>
        <p:txBody>
          <a:bodyPr wrap="square" rtlCol="0">
            <a:spAutoFit/>
          </a:bodyPr>
          <a:lstStyle/>
          <a:p>
            <a:r>
              <a:rPr lang="en-AU" sz="800" dirty="0"/>
              <a:t>Source: </a:t>
            </a:r>
            <a:r>
              <a:rPr lang="en-US" sz="800" dirty="0"/>
              <a:t>The AI Spending Boom Is Not Too Big, Goldman Sachs, 15 October 2025</a:t>
            </a:r>
            <a:endParaRPr lang="en-AU" sz="800" dirty="0"/>
          </a:p>
        </p:txBody>
      </p:sp>
      <p:sp>
        <p:nvSpPr>
          <p:cNvPr id="2" name="TextBox 1">
            <a:extLst>
              <a:ext uri="{FF2B5EF4-FFF2-40B4-BE49-F238E27FC236}">
                <a16:creationId xmlns:a16="http://schemas.microsoft.com/office/drawing/2014/main" id="{950E43BC-9A41-6E20-B71A-FE6E94BDD7A9}"/>
              </a:ext>
            </a:extLst>
          </p:cNvPr>
          <p:cNvSpPr txBox="1"/>
          <p:nvPr/>
        </p:nvSpPr>
        <p:spPr>
          <a:xfrm>
            <a:off x="148270" y="6507447"/>
            <a:ext cx="4890073" cy="215444"/>
          </a:xfrm>
          <a:prstGeom prst="rect">
            <a:avLst/>
          </a:prstGeom>
          <a:noFill/>
        </p:spPr>
        <p:txBody>
          <a:bodyPr wrap="square" rtlCol="0">
            <a:spAutoFit/>
          </a:bodyPr>
          <a:lstStyle/>
          <a:p>
            <a:r>
              <a:rPr lang="en-AU" sz="800" dirty="0"/>
              <a:t>Source: The Flow Show, </a:t>
            </a:r>
            <a:r>
              <a:rPr lang="en-AU" sz="800" dirty="0" err="1"/>
              <a:t>BofA</a:t>
            </a:r>
            <a:r>
              <a:rPr lang="en-AU" sz="800" dirty="0"/>
              <a:t>, 25 September 2025 and  </a:t>
            </a:r>
            <a:r>
              <a:rPr lang="en-US" sz="800" dirty="0"/>
              <a:t>Global Fund Manager Survey, </a:t>
            </a:r>
            <a:r>
              <a:rPr lang="en-US" sz="800" dirty="0" err="1"/>
              <a:t>BofA</a:t>
            </a:r>
            <a:r>
              <a:rPr lang="en-US" sz="800" dirty="0"/>
              <a:t>, 16 September 2025</a:t>
            </a:r>
            <a:endParaRPr lang="en-AU" sz="800" dirty="0"/>
          </a:p>
        </p:txBody>
      </p:sp>
      <p:pic>
        <p:nvPicPr>
          <p:cNvPr id="4" name="Picture 3">
            <a:extLst>
              <a:ext uri="{FF2B5EF4-FFF2-40B4-BE49-F238E27FC236}">
                <a16:creationId xmlns:a16="http://schemas.microsoft.com/office/drawing/2014/main" id="{E9EB85F5-5BE0-2C94-8989-81D816BC2471}"/>
              </a:ext>
            </a:extLst>
          </p:cNvPr>
          <p:cNvPicPr>
            <a:picLocks noChangeAspect="1"/>
          </p:cNvPicPr>
          <p:nvPr/>
        </p:nvPicPr>
        <p:blipFill>
          <a:blip r:embed="rId3"/>
          <a:stretch>
            <a:fillRect/>
          </a:stretch>
        </p:blipFill>
        <p:spPr>
          <a:xfrm>
            <a:off x="368851" y="2159730"/>
            <a:ext cx="3940117" cy="2732662"/>
          </a:xfrm>
          <a:prstGeom prst="rect">
            <a:avLst/>
          </a:prstGeom>
        </p:spPr>
      </p:pic>
      <p:sp>
        <p:nvSpPr>
          <p:cNvPr id="5" name="TextBox 4">
            <a:extLst>
              <a:ext uri="{FF2B5EF4-FFF2-40B4-BE49-F238E27FC236}">
                <a16:creationId xmlns:a16="http://schemas.microsoft.com/office/drawing/2014/main" id="{C226B069-348F-5A5D-4145-AE9E9CB6D8E7}"/>
              </a:ext>
            </a:extLst>
          </p:cNvPr>
          <p:cNvSpPr txBox="1"/>
          <p:nvPr/>
        </p:nvSpPr>
        <p:spPr>
          <a:xfrm>
            <a:off x="4527662" y="5107834"/>
            <a:ext cx="3887567" cy="523220"/>
          </a:xfrm>
          <a:prstGeom prst="rect">
            <a:avLst/>
          </a:prstGeom>
          <a:noFill/>
        </p:spPr>
        <p:txBody>
          <a:bodyPr wrap="square" rtlCol="0">
            <a:spAutoFit/>
          </a:bodyPr>
          <a:lstStyle/>
          <a:p>
            <a:r>
              <a:rPr lang="en-AU" dirty="0"/>
              <a:t>…but the AI capex spend is so far small relative to other transformational technologies…</a:t>
            </a:r>
          </a:p>
        </p:txBody>
      </p:sp>
      <p:sp>
        <p:nvSpPr>
          <p:cNvPr id="7" name="TextBox 6">
            <a:extLst>
              <a:ext uri="{FF2B5EF4-FFF2-40B4-BE49-F238E27FC236}">
                <a16:creationId xmlns:a16="http://schemas.microsoft.com/office/drawing/2014/main" id="{3052CA16-CE0E-B9E0-4C64-94E7DF0A305C}"/>
              </a:ext>
            </a:extLst>
          </p:cNvPr>
          <p:cNvSpPr txBox="1"/>
          <p:nvPr/>
        </p:nvSpPr>
        <p:spPr>
          <a:xfrm>
            <a:off x="8415229" y="5107834"/>
            <a:ext cx="3887567" cy="307777"/>
          </a:xfrm>
          <a:prstGeom prst="rect">
            <a:avLst/>
          </a:prstGeom>
          <a:noFill/>
        </p:spPr>
        <p:txBody>
          <a:bodyPr wrap="square" rtlCol="0">
            <a:spAutoFit/>
          </a:bodyPr>
          <a:lstStyle/>
          <a:p>
            <a:r>
              <a:rPr lang="en-AU" dirty="0"/>
              <a:t>…with it likely to keep rising for some time yet</a:t>
            </a:r>
          </a:p>
        </p:txBody>
      </p:sp>
      <p:pic>
        <p:nvPicPr>
          <p:cNvPr id="11" name="Picture 10">
            <a:extLst>
              <a:ext uri="{FF2B5EF4-FFF2-40B4-BE49-F238E27FC236}">
                <a16:creationId xmlns:a16="http://schemas.microsoft.com/office/drawing/2014/main" id="{596303EE-6D43-866E-AC8F-C8746D9A22D2}"/>
              </a:ext>
            </a:extLst>
          </p:cNvPr>
          <p:cNvPicPr>
            <a:picLocks noChangeAspect="1"/>
          </p:cNvPicPr>
          <p:nvPr/>
        </p:nvPicPr>
        <p:blipFill>
          <a:blip r:embed="rId4"/>
          <a:stretch>
            <a:fillRect/>
          </a:stretch>
        </p:blipFill>
        <p:spPr>
          <a:xfrm>
            <a:off x="8318896" y="2054243"/>
            <a:ext cx="3743847" cy="3048425"/>
          </a:xfrm>
          <a:prstGeom prst="rect">
            <a:avLst/>
          </a:prstGeom>
        </p:spPr>
      </p:pic>
      <p:grpSp>
        <p:nvGrpSpPr>
          <p:cNvPr id="9" name="Group 8">
            <a:extLst>
              <a:ext uri="{FF2B5EF4-FFF2-40B4-BE49-F238E27FC236}">
                <a16:creationId xmlns:a16="http://schemas.microsoft.com/office/drawing/2014/main" id="{644B4011-6317-D4FF-C098-FDBD941188B9}"/>
              </a:ext>
            </a:extLst>
          </p:cNvPr>
          <p:cNvGrpSpPr/>
          <p:nvPr/>
        </p:nvGrpSpPr>
        <p:grpSpPr>
          <a:xfrm>
            <a:off x="4616341" y="781641"/>
            <a:ext cx="3070227" cy="4256883"/>
            <a:chOff x="4625768" y="365570"/>
            <a:chExt cx="3070227" cy="4256883"/>
          </a:xfrm>
        </p:grpSpPr>
        <p:pic>
          <p:nvPicPr>
            <p:cNvPr id="18" name="Picture 17">
              <a:extLst>
                <a:ext uri="{FF2B5EF4-FFF2-40B4-BE49-F238E27FC236}">
                  <a16:creationId xmlns:a16="http://schemas.microsoft.com/office/drawing/2014/main" id="{E7E48870-5ECF-F09A-0D84-107EE3560508}"/>
                </a:ext>
              </a:extLst>
            </p:cNvPr>
            <p:cNvPicPr>
              <a:picLocks noChangeAspect="1"/>
            </p:cNvPicPr>
            <p:nvPr/>
          </p:nvPicPr>
          <p:blipFill>
            <a:blip r:embed="rId5"/>
            <a:stretch>
              <a:fillRect/>
            </a:stretch>
          </p:blipFill>
          <p:spPr>
            <a:xfrm rot="5400000">
              <a:off x="4192320" y="1245369"/>
              <a:ext cx="3810532" cy="2943636"/>
            </a:xfrm>
            <a:prstGeom prst="rect">
              <a:avLst/>
            </a:prstGeom>
          </p:spPr>
        </p:pic>
        <p:pic>
          <p:nvPicPr>
            <p:cNvPr id="6" name="Picture 5">
              <a:extLst>
                <a:ext uri="{FF2B5EF4-FFF2-40B4-BE49-F238E27FC236}">
                  <a16:creationId xmlns:a16="http://schemas.microsoft.com/office/drawing/2014/main" id="{C746EE6D-5E29-3CF1-19BD-E0B7ABE3F8D8}"/>
                </a:ext>
              </a:extLst>
            </p:cNvPr>
            <p:cNvPicPr>
              <a:picLocks noChangeAspect="1"/>
            </p:cNvPicPr>
            <p:nvPr/>
          </p:nvPicPr>
          <p:blipFill>
            <a:blip r:embed="rId5"/>
            <a:srcRect l="17683" t="1905" r="18539" b="85287"/>
            <a:stretch>
              <a:fillRect/>
            </a:stretch>
          </p:blipFill>
          <p:spPr>
            <a:xfrm>
              <a:off x="5265749" y="365570"/>
              <a:ext cx="2430246" cy="377041"/>
            </a:xfrm>
            <a:prstGeom prst="rect">
              <a:avLst/>
            </a:prstGeom>
          </p:spPr>
        </p:pic>
        <p:sp>
          <p:nvSpPr>
            <p:cNvPr id="8" name="Rectangle 7">
              <a:extLst>
                <a:ext uri="{FF2B5EF4-FFF2-40B4-BE49-F238E27FC236}">
                  <a16:creationId xmlns:a16="http://schemas.microsoft.com/office/drawing/2014/main" id="{E238136F-7CC2-E11F-2FF9-301E568A033F}"/>
                </a:ext>
              </a:extLst>
            </p:cNvPr>
            <p:cNvSpPr/>
            <p:nvPr/>
          </p:nvSpPr>
          <p:spPr>
            <a:xfrm>
              <a:off x="7182678" y="1638172"/>
              <a:ext cx="371061" cy="22844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3808444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BC3274-D8C3-D1EE-DEDD-2DB5BAF153F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53BF77C-59EB-991E-D346-2BC2225995ED}"/>
              </a:ext>
            </a:extLst>
          </p:cNvPr>
          <p:cNvSpPr>
            <a:spLocks noGrp="1"/>
          </p:cNvSpPr>
          <p:nvPr>
            <p:ph type="title"/>
          </p:nvPr>
        </p:nvSpPr>
        <p:spPr>
          <a:xfrm>
            <a:off x="696912" y="-16420"/>
            <a:ext cx="10801350" cy="576264"/>
          </a:xfrm>
        </p:spPr>
        <p:txBody>
          <a:bodyPr/>
          <a:lstStyle/>
          <a:p>
            <a:r>
              <a:rPr lang="en-AU" dirty="0"/>
              <a:t>US equity valuations</a:t>
            </a:r>
          </a:p>
        </p:txBody>
      </p:sp>
      <p:sp>
        <p:nvSpPr>
          <p:cNvPr id="17" name="Slide Number Placeholder 16">
            <a:extLst>
              <a:ext uri="{FF2B5EF4-FFF2-40B4-BE49-F238E27FC236}">
                <a16:creationId xmlns:a16="http://schemas.microsoft.com/office/drawing/2014/main" id="{3D187360-1D1F-1AAF-DBD5-09321FA32520}"/>
              </a:ext>
            </a:extLst>
          </p:cNvPr>
          <p:cNvSpPr>
            <a:spLocks noGrp="1"/>
          </p:cNvSpPr>
          <p:nvPr>
            <p:ph type="sldNum" sz="quarter" idx="16"/>
          </p:nvPr>
        </p:nvSpPr>
        <p:spPr/>
        <p:txBody>
          <a:bodyPr/>
          <a:lstStyle/>
          <a:p>
            <a:fld id="{E917DE0E-AFB1-41FD-BC35-27DB61CA125F}" type="slidenum">
              <a:rPr lang="en-AU" smtClean="0"/>
              <a:pPr/>
              <a:t>16</a:t>
            </a:fld>
            <a:endParaRPr lang="en-AU" dirty="0"/>
          </a:p>
        </p:txBody>
      </p:sp>
      <p:sp>
        <p:nvSpPr>
          <p:cNvPr id="14" name="TextBox 13">
            <a:extLst>
              <a:ext uri="{FF2B5EF4-FFF2-40B4-BE49-F238E27FC236}">
                <a16:creationId xmlns:a16="http://schemas.microsoft.com/office/drawing/2014/main" id="{8AFBDD0B-ADAD-DD1B-9303-297D6B78198B}"/>
              </a:ext>
            </a:extLst>
          </p:cNvPr>
          <p:cNvSpPr txBox="1"/>
          <p:nvPr/>
        </p:nvSpPr>
        <p:spPr>
          <a:xfrm>
            <a:off x="170435" y="6691925"/>
            <a:ext cx="4890073" cy="215444"/>
          </a:xfrm>
          <a:prstGeom prst="rect">
            <a:avLst/>
          </a:prstGeom>
          <a:noFill/>
        </p:spPr>
        <p:txBody>
          <a:bodyPr wrap="square" rtlCol="0">
            <a:spAutoFit/>
          </a:bodyPr>
          <a:lstStyle/>
          <a:p>
            <a:r>
              <a:rPr lang="en-AU" sz="800" dirty="0"/>
              <a:t>Source: The Flow Show, </a:t>
            </a:r>
            <a:r>
              <a:rPr lang="en-AU" sz="800" dirty="0" err="1"/>
              <a:t>BofA</a:t>
            </a:r>
            <a:r>
              <a:rPr lang="en-AU" sz="800" dirty="0"/>
              <a:t>, 25 September 2025 and  </a:t>
            </a:r>
            <a:r>
              <a:rPr lang="en-US" sz="800" dirty="0"/>
              <a:t>Global Fund Manager Survey, </a:t>
            </a:r>
            <a:r>
              <a:rPr lang="en-US" sz="800" dirty="0" err="1"/>
              <a:t>BofA</a:t>
            </a:r>
            <a:r>
              <a:rPr lang="en-US" sz="800" dirty="0"/>
              <a:t>, 16 September 2025</a:t>
            </a:r>
            <a:endParaRPr lang="en-AU" sz="800" dirty="0"/>
          </a:p>
        </p:txBody>
      </p:sp>
      <p:pic>
        <p:nvPicPr>
          <p:cNvPr id="16" name="Picture 15">
            <a:extLst>
              <a:ext uri="{FF2B5EF4-FFF2-40B4-BE49-F238E27FC236}">
                <a16:creationId xmlns:a16="http://schemas.microsoft.com/office/drawing/2014/main" id="{ADE380CE-EBB1-B874-A55E-4321B88652C1}"/>
              </a:ext>
            </a:extLst>
          </p:cNvPr>
          <p:cNvPicPr>
            <a:picLocks noChangeAspect="1"/>
          </p:cNvPicPr>
          <p:nvPr/>
        </p:nvPicPr>
        <p:blipFill>
          <a:blip r:embed="rId3"/>
          <a:stretch>
            <a:fillRect/>
          </a:stretch>
        </p:blipFill>
        <p:spPr>
          <a:xfrm>
            <a:off x="172480" y="3959400"/>
            <a:ext cx="3205796" cy="2027873"/>
          </a:xfrm>
          <a:prstGeom prst="rect">
            <a:avLst/>
          </a:prstGeom>
        </p:spPr>
      </p:pic>
      <p:pic>
        <p:nvPicPr>
          <p:cNvPr id="23" name="Picture 22">
            <a:extLst>
              <a:ext uri="{FF2B5EF4-FFF2-40B4-BE49-F238E27FC236}">
                <a16:creationId xmlns:a16="http://schemas.microsoft.com/office/drawing/2014/main" id="{BD4B1860-CB99-34BF-E875-CD5D07DCBC61}"/>
              </a:ext>
            </a:extLst>
          </p:cNvPr>
          <p:cNvPicPr>
            <a:picLocks noChangeAspect="1"/>
          </p:cNvPicPr>
          <p:nvPr/>
        </p:nvPicPr>
        <p:blipFill>
          <a:blip r:embed="rId4"/>
          <a:stretch>
            <a:fillRect/>
          </a:stretch>
        </p:blipFill>
        <p:spPr>
          <a:xfrm>
            <a:off x="115429" y="1608949"/>
            <a:ext cx="3262847" cy="1907157"/>
          </a:xfrm>
          <a:prstGeom prst="rect">
            <a:avLst/>
          </a:prstGeom>
        </p:spPr>
      </p:pic>
      <p:sp>
        <p:nvSpPr>
          <p:cNvPr id="5" name="TextBox 4">
            <a:extLst>
              <a:ext uri="{FF2B5EF4-FFF2-40B4-BE49-F238E27FC236}">
                <a16:creationId xmlns:a16="http://schemas.microsoft.com/office/drawing/2014/main" id="{0A8A32CC-434F-0E59-72D9-48F9AEF18B25}"/>
              </a:ext>
            </a:extLst>
          </p:cNvPr>
          <p:cNvSpPr txBox="1"/>
          <p:nvPr/>
        </p:nvSpPr>
        <p:spPr>
          <a:xfrm>
            <a:off x="4152441" y="2341462"/>
            <a:ext cx="2644286" cy="3370153"/>
          </a:xfrm>
          <a:prstGeom prst="rect">
            <a:avLst/>
          </a:prstGeom>
          <a:solidFill>
            <a:schemeClr val="accent2">
              <a:lumMod val="20000"/>
              <a:lumOff val="80000"/>
            </a:schemeClr>
          </a:solidFill>
        </p:spPr>
        <p:txBody>
          <a:bodyPr wrap="square" rtlCol="0">
            <a:spAutoFit/>
          </a:bodyPr>
          <a:lstStyle/>
          <a:p>
            <a:r>
              <a:rPr lang="en-AU" b="1" u="sng" dirty="0"/>
              <a:t>Key points</a:t>
            </a:r>
          </a:p>
          <a:p>
            <a:pPr marL="342900" indent="-342900">
              <a:buAutoNum type="arabicPeriod"/>
            </a:pPr>
            <a:r>
              <a:rPr lang="en-AU" dirty="0"/>
              <a:t>More than 40% of investors think AI stocks are in a bubble</a:t>
            </a:r>
          </a:p>
          <a:p>
            <a:pPr marL="342900" indent="-342900">
              <a:buFont typeface="Arial" pitchFamily="34" charset="0"/>
              <a:buAutoNum type="arabicPeriod"/>
            </a:pPr>
            <a:r>
              <a:rPr lang="en-US" dirty="0"/>
              <a:t>Long US tech/Mag 7 has been seen as the most overcrowded for most of the time since the start of 2018</a:t>
            </a:r>
          </a:p>
          <a:p>
            <a:pPr marL="342900" indent="-342900">
              <a:buAutoNum type="arabicPeriod"/>
            </a:pPr>
            <a:r>
              <a:rPr lang="en-AU" dirty="0"/>
              <a:t>The biggest share of market participants consider equities to be overvalued since 1998 (i.e. including dot com boom)</a:t>
            </a:r>
          </a:p>
        </p:txBody>
      </p:sp>
      <p:cxnSp>
        <p:nvCxnSpPr>
          <p:cNvPr id="6" name="Straight Arrow Connector 5">
            <a:extLst>
              <a:ext uri="{FF2B5EF4-FFF2-40B4-BE49-F238E27FC236}">
                <a16:creationId xmlns:a16="http://schemas.microsoft.com/office/drawing/2014/main" id="{824A5764-B34B-4554-2AFC-0F72838DD176}"/>
              </a:ext>
            </a:extLst>
          </p:cNvPr>
          <p:cNvCxnSpPr/>
          <p:nvPr/>
        </p:nvCxnSpPr>
        <p:spPr>
          <a:xfrm flipH="1" flipV="1">
            <a:off x="3442795" y="2623626"/>
            <a:ext cx="681663" cy="36710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3200E05E-33AB-E642-C17F-1F420DEA3DCD}"/>
              </a:ext>
            </a:extLst>
          </p:cNvPr>
          <p:cNvCxnSpPr>
            <a:cxnSpLocks/>
          </p:cNvCxnSpPr>
          <p:nvPr/>
        </p:nvCxnSpPr>
        <p:spPr>
          <a:xfrm>
            <a:off x="6696808" y="4253549"/>
            <a:ext cx="505270"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D28A504-98F0-1FC0-1055-2487D4328B1F}"/>
              </a:ext>
            </a:extLst>
          </p:cNvPr>
          <p:cNvCxnSpPr>
            <a:cxnSpLocks/>
          </p:cNvCxnSpPr>
          <p:nvPr/>
        </p:nvCxnSpPr>
        <p:spPr>
          <a:xfrm flipH="1">
            <a:off x="3447876" y="4253549"/>
            <a:ext cx="650999" cy="279841"/>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C7299D9-B336-E92F-C47B-8289D469E638}"/>
              </a:ext>
            </a:extLst>
          </p:cNvPr>
          <p:cNvPicPr>
            <a:picLocks noChangeAspect="1"/>
          </p:cNvPicPr>
          <p:nvPr/>
        </p:nvPicPr>
        <p:blipFill>
          <a:blip r:embed="rId5"/>
          <a:stretch>
            <a:fillRect/>
          </a:stretch>
        </p:blipFill>
        <p:spPr>
          <a:xfrm>
            <a:off x="7202078" y="1407042"/>
            <a:ext cx="4686232" cy="4417640"/>
          </a:xfrm>
          <a:prstGeom prst="rect">
            <a:avLst/>
          </a:prstGeom>
        </p:spPr>
      </p:pic>
    </p:spTree>
    <p:extLst>
      <p:ext uri="{BB962C8B-B14F-4D97-AF65-F5344CB8AC3E}">
        <p14:creationId xmlns:p14="http://schemas.microsoft.com/office/powerpoint/2010/main" val="40384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3F7ED-82D0-4CEC-16DE-D60A51D8081B}"/>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5C99889D-975D-FAA6-D730-F5B49324F227}"/>
              </a:ext>
            </a:extLst>
          </p:cNvPr>
          <p:cNvSpPr>
            <a:spLocks noGrp="1"/>
          </p:cNvSpPr>
          <p:nvPr>
            <p:ph type="body" idx="18"/>
          </p:nvPr>
        </p:nvSpPr>
        <p:spPr>
          <a:xfrm>
            <a:off x="731450" y="2757237"/>
            <a:ext cx="10926762" cy="1345114"/>
          </a:xfrm>
        </p:spPr>
        <p:txBody>
          <a:bodyPr/>
          <a:lstStyle/>
          <a:p>
            <a:r>
              <a:rPr lang="en-US" dirty="0"/>
              <a:t>National economy</a:t>
            </a:r>
            <a:endParaRPr lang="en-AU" dirty="0"/>
          </a:p>
        </p:txBody>
      </p:sp>
      <p:sp>
        <p:nvSpPr>
          <p:cNvPr id="6" name="Slide Number Placeholder 5">
            <a:extLst>
              <a:ext uri="{FF2B5EF4-FFF2-40B4-BE49-F238E27FC236}">
                <a16:creationId xmlns:a16="http://schemas.microsoft.com/office/drawing/2014/main" id="{9F7D5F1C-CEC5-9BB4-28D3-7D0CA6FFF34F}"/>
              </a:ext>
            </a:extLst>
          </p:cNvPr>
          <p:cNvSpPr>
            <a:spLocks noGrp="1"/>
          </p:cNvSpPr>
          <p:nvPr>
            <p:ph type="sldNum" sz="quarter" idx="20"/>
          </p:nvPr>
        </p:nvSpPr>
        <p:spPr/>
        <p:txBody>
          <a:bodyPr/>
          <a:lstStyle/>
          <a:p>
            <a:fld id="{E917DE0E-AFB1-41FD-BC35-27DB61CA125F}" type="slidenum">
              <a:rPr lang="en-AU" smtClean="0"/>
              <a:pPr/>
              <a:t>17</a:t>
            </a:fld>
            <a:endParaRPr lang="en-AU"/>
          </a:p>
        </p:txBody>
      </p:sp>
    </p:spTree>
    <p:extLst>
      <p:ext uri="{BB962C8B-B14F-4D97-AF65-F5344CB8AC3E}">
        <p14:creationId xmlns:p14="http://schemas.microsoft.com/office/powerpoint/2010/main" val="79009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FF5B7-18E8-B910-A9FD-6D6F9375169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6B8E2B5-3225-AF1A-A3A8-B6758A5388BE}"/>
              </a:ext>
            </a:extLst>
          </p:cNvPr>
          <p:cNvSpPr>
            <a:spLocks noGrp="1"/>
          </p:cNvSpPr>
          <p:nvPr>
            <p:ph type="title"/>
          </p:nvPr>
        </p:nvSpPr>
        <p:spPr>
          <a:xfrm>
            <a:off x="696912" y="0"/>
            <a:ext cx="10801350" cy="576264"/>
          </a:xfrm>
        </p:spPr>
        <p:txBody>
          <a:bodyPr/>
          <a:lstStyle/>
          <a:p>
            <a:r>
              <a:rPr lang="en-US" dirty="0"/>
              <a:t>Australian economy – business cycle</a:t>
            </a:r>
          </a:p>
        </p:txBody>
      </p:sp>
      <p:sp>
        <p:nvSpPr>
          <p:cNvPr id="17" name="Slide Number Placeholder 16">
            <a:extLst>
              <a:ext uri="{FF2B5EF4-FFF2-40B4-BE49-F238E27FC236}">
                <a16:creationId xmlns:a16="http://schemas.microsoft.com/office/drawing/2014/main" id="{2CCE3D43-0962-F00B-AB3E-7199E84AE93B}"/>
              </a:ext>
            </a:extLst>
          </p:cNvPr>
          <p:cNvSpPr>
            <a:spLocks noGrp="1"/>
          </p:cNvSpPr>
          <p:nvPr>
            <p:ph type="sldNum" sz="quarter" idx="16"/>
          </p:nvPr>
        </p:nvSpPr>
        <p:spPr/>
        <p:txBody>
          <a:bodyPr/>
          <a:lstStyle/>
          <a:p>
            <a:fld id="{E917DE0E-AFB1-41FD-BC35-27DB61CA125F}" type="slidenum">
              <a:rPr lang="en-AU" smtClean="0"/>
              <a:pPr/>
              <a:t>18</a:t>
            </a:fld>
            <a:endParaRPr lang="en-AU" dirty="0"/>
          </a:p>
        </p:txBody>
      </p:sp>
      <p:sp>
        <p:nvSpPr>
          <p:cNvPr id="19" name="Content Placeholder 10">
            <a:extLst>
              <a:ext uri="{FF2B5EF4-FFF2-40B4-BE49-F238E27FC236}">
                <a16:creationId xmlns:a16="http://schemas.microsoft.com/office/drawing/2014/main" id="{73CCEB15-09AD-4B6B-32C1-D6478CC8EC95}"/>
              </a:ext>
            </a:extLst>
          </p:cNvPr>
          <p:cNvSpPr txBox="1">
            <a:spLocks/>
          </p:cNvSpPr>
          <p:nvPr/>
        </p:nvSpPr>
        <p:spPr>
          <a:xfrm>
            <a:off x="1154198" y="5898006"/>
            <a:ext cx="5372027"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dirty="0"/>
              <a:t>Leading indicators of economic activity suggest the Australian economy remains in a recovery phase…</a:t>
            </a:r>
          </a:p>
        </p:txBody>
      </p:sp>
      <p:graphicFrame>
        <p:nvGraphicFramePr>
          <p:cNvPr id="9" name="Object 8">
            <a:extLst>
              <a:ext uri="{FF2B5EF4-FFF2-40B4-BE49-F238E27FC236}">
                <a16:creationId xmlns:a16="http://schemas.microsoft.com/office/drawing/2014/main" id="{D45E025F-3AC2-6746-9A85-E575586ED00F}"/>
              </a:ext>
            </a:extLst>
          </p:cNvPr>
          <p:cNvGraphicFramePr>
            <a:graphicFrameLocks noChangeAspect="1"/>
          </p:cNvGraphicFramePr>
          <p:nvPr>
            <p:extLst>
              <p:ext uri="{D42A27DB-BD31-4B8C-83A1-F6EECF244321}">
                <p14:modId xmlns:p14="http://schemas.microsoft.com/office/powerpoint/2010/main" val="4260538358"/>
              </p:ext>
            </p:extLst>
          </p:nvPr>
        </p:nvGraphicFramePr>
        <p:xfrm>
          <a:off x="849348" y="1068387"/>
          <a:ext cx="5124450" cy="4722813"/>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0" name=""/>
                      <p:cNvPicPr/>
                      <p:nvPr/>
                    </p:nvPicPr>
                    <p:blipFill>
                      <a:blip r:embed="rId4"/>
                      <a:stretch>
                        <a:fillRect/>
                      </a:stretch>
                    </p:blipFill>
                    <p:spPr>
                      <a:xfrm>
                        <a:off x="849348" y="1068387"/>
                        <a:ext cx="5124450" cy="4722813"/>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F090503E-8D95-EEBB-434D-F7E6470B4B16}"/>
              </a:ext>
            </a:extLst>
          </p:cNvPr>
          <p:cNvGraphicFramePr>
            <a:graphicFrameLocks noChangeAspect="1"/>
          </p:cNvGraphicFramePr>
          <p:nvPr>
            <p:extLst>
              <p:ext uri="{D42A27DB-BD31-4B8C-83A1-F6EECF244321}">
                <p14:modId xmlns:p14="http://schemas.microsoft.com/office/powerpoint/2010/main" val="3635817807"/>
              </p:ext>
            </p:extLst>
          </p:nvPr>
        </p:nvGraphicFramePr>
        <p:xfrm>
          <a:off x="6526225" y="1068387"/>
          <a:ext cx="5124450" cy="4722813"/>
        </p:xfrm>
        <a:graphic>
          <a:graphicData uri="http://schemas.openxmlformats.org/presentationml/2006/ole">
            <mc:AlternateContent xmlns:mc="http://schemas.openxmlformats.org/markup-compatibility/2006">
              <mc:Choice xmlns:v="urn:schemas-microsoft-com:vml" Requires="v">
                <p:oleObj name="Macrobond document" r:id="rId5" imgW="5123742" imgH="4723318" progId="Mbnd.mbnd">
                  <p:embed/>
                </p:oleObj>
              </mc:Choice>
              <mc:Fallback>
                <p:oleObj name="Macrobond document" r:id="rId5" imgW="5123742" imgH="4723318" progId="Mbnd.mbnd">
                  <p:embed/>
                  <p:pic>
                    <p:nvPicPr>
                      <p:cNvPr id="0" name=""/>
                      <p:cNvPicPr/>
                      <p:nvPr/>
                    </p:nvPicPr>
                    <p:blipFill>
                      <a:blip r:embed="rId6"/>
                      <a:stretch>
                        <a:fillRect/>
                      </a:stretch>
                    </p:blipFill>
                    <p:spPr>
                      <a:xfrm>
                        <a:off x="6526225" y="1068387"/>
                        <a:ext cx="5124450" cy="4722813"/>
                      </a:xfrm>
                      <a:prstGeom prst="rect">
                        <a:avLst/>
                      </a:prstGeom>
                    </p:spPr>
                  </p:pic>
                </p:oleObj>
              </mc:Fallback>
            </mc:AlternateContent>
          </a:graphicData>
        </a:graphic>
      </p:graphicFrame>
      <p:sp>
        <p:nvSpPr>
          <p:cNvPr id="11" name="Content Placeholder 10">
            <a:extLst>
              <a:ext uri="{FF2B5EF4-FFF2-40B4-BE49-F238E27FC236}">
                <a16:creationId xmlns:a16="http://schemas.microsoft.com/office/drawing/2014/main" id="{68E2FDCE-137F-AF75-6CB6-900F9016D8B7}"/>
              </a:ext>
            </a:extLst>
          </p:cNvPr>
          <p:cNvSpPr txBox="1">
            <a:spLocks/>
          </p:cNvSpPr>
          <p:nvPr/>
        </p:nvSpPr>
        <p:spPr>
          <a:xfrm>
            <a:off x="6693226" y="5898006"/>
            <a:ext cx="5372027"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dirty="0"/>
              <a:t>…while similar measures for the labour market give a similar signal</a:t>
            </a:r>
          </a:p>
        </p:txBody>
      </p:sp>
    </p:spTree>
    <p:extLst>
      <p:ext uri="{BB962C8B-B14F-4D97-AF65-F5344CB8AC3E}">
        <p14:creationId xmlns:p14="http://schemas.microsoft.com/office/powerpoint/2010/main" val="111739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2F691-B487-CF6C-6342-3978B09D7F6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315958B-428F-DC94-557B-49BC11F8DB4C}"/>
              </a:ext>
            </a:extLst>
          </p:cNvPr>
          <p:cNvSpPr>
            <a:spLocks noGrp="1"/>
          </p:cNvSpPr>
          <p:nvPr>
            <p:ph type="title"/>
          </p:nvPr>
        </p:nvSpPr>
        <p:spPr>
          <a:xfrm>
            <a:off x="696912" y="0"/>
            <a:ext cx="10801350" cy="576264"/>
          </a:xfrm>
        </p:spPr>
        <p:txBody>
          <a:bodyPr/>
          <a:lstStyle/>
          <a:p>
            <a:r>
              <a:rPr lang="en-US" dirty="0"/>
              <a:t>Australian economy – supply and demand</a:t>
            </a:r>
          </a:p>
        </p:txBody>
      </p:sp>
      <p:sp>
        <p:nvSpPr>
          <p:cNvPr id="17" name="Slide Number Placeholder 16">
            <a:extLst>
              <a:ext uri="{FF2B5EF4-FFF2-40B4-BE49-F238E27FC236}">
                <a16:creationId xmlns:a16="http://schemas.microsoft.com/office/drawing/2014/main" id="{015079CE-C944-5BD8-3590-E9831109F0F1}"/>
              </a:ext>
            </a:extLst>
          </p:cNvPr>
          <p:cNvSpPr>
            <a:spLocks noGrp="1"/>
          </p:cNvSpPr>
          <p:nvPr>
            <p:ph type="sldNum" sz="quarter" idx="16"/>
          </p:nvPr>
        </p:nvSpPr>
        <p:spPr/>
        <p:txBody>
          <a:bodyPr/>
          <a:lstStyle/>
          <a:p>
            <a:fld id="{E917DE0E-AFB1-41FD-BC35-27DB61CA125F}" type="slidenum">
              <a:rPr lang="en-AU" smtClean="0"/>
              <a:pPr/>
              <a:t>19</a:t>
            </a:fld>
            <a:endParaRPr lang="en-AU" dirty="0"/>
          </a:p>
        </p:txBody>
      </p:sp>
      <p:sp>
        <p:nvSpPr>
          <p:cNvPr id="19" name="Content Placeholder 10">
            <a:extLst>
              <a:ext uri="{FF2B5EF4-FFF2-40B4-BE49-F238E27FC236}">
                <a16:creationId xmlns:a16="http://schemas.microsoft.com/office/drawing/2014/main" id="{F6D22140-26FC-BFF3-DA26-7CD6EA4CBE7D}"/>
              </a:ext>
            </a:extLst>
          </p:cNvPr>
          <p:cNvSpPr txBox="1">
            <a:spLocks/>
          </p:cNvSpPr>
          <p:nvPr/>
        </p:nvSpPr>
        <p:spPr>
          <a:xfrm>
            <a:off x="870735" y="6172325"/>
            <a:ext cx="4950628"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dirty="0"/>
              <a:t>The demand-supply balance in product markets is consistent with rising inflation</a:t>
            </a:r>
          </a:p>
        </p:txBody>
      </p:sp>
      <p:graphicFrame>
        <p:nvGraphicFramePr>
          <p:cNvPr id="4" name="Object 3">
            <a:extLst>
              <a:ext uri="{FF2B5EF4-FFF2-40B4-BE49-F238E27FC236}">
                <a16:creationId xmlns:a16="http://schemas.microsoft.com/office/drawing/2014/main" id="{650111F1-B134-7AFB-A6DC-97F72D32A969}"/>
              </a:ext>
            </a:extLst>
          </p:cNvPr>
          <p:cNvGraphicFramePr>
            <a:graphicFrameLocks noChangeAspect="1"/>
          </p:cNvGraphicFramePr>
          <p:nvPr>
            <p:extLst>
              <p:ext uri="{D42A27DB-BD31-4B8C-83A1-F6EECF244321}">
                <p14:modId xmlns:p14="http://schemas.microsoft.com/office/powerpoint/2010/main" val="945667841"/>
              </p:ext>
            </p:extLst>
          </p:nvPr>
        </p:nvGraphicFramePr>
        <p:xfrm>
          <a:off x="696912" y="1012888"/>
          <a:ext cx="5124450" cy="4722813"/>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4" name="Object 3">
                        <a:extLst>
                          <a:ext uri="{FF2B5EF4-FFF2-40B4-BE49-F238E27FC236}">
                            <a16:creationId xmlns:a16="http://schemas.microsoft.com/office/drawing/2014/main" id="{0623B7D4-8AB1-9DAD-A84B-A4A97409DAA8}"/>
                          </a:ext>
                        </a:extLst>
                      </p:cNvPr>
                      <p:cNvPicPr/>
                      <p:nvPr/>
                    </p:nvPicPr>
                    <p:blipFill>
                      <a:blip r:embed="rId4"/>
                      <a:stretch>
                        <a:fillRect/>
                      </a:stretch>
                    </p:blipFill>
                    <p:spPr>
                      <a:xfrm>
                        <a:off x="696912" y="1012888"/>
                        <a:ext cx="5124450" cy="4722813"/>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FED098D4-252E-13D2-2AD1-DD5A5874D84E}"/>
              </a:ext>
            </a:extLst>
          </p:cNvPr>
          <p:cNvGraphicFramePr>
            <a:graphicFrameLocks noChangeAspect="1"/>
          </p:cNvGraphicFramePr>
          <p:nvPr>
            <p:extLst>
              <p:ext uri="{D42A27DB-BD31-4B8C-83A1-F6EECF244321}">
                <p14:modId xmlns:p14="http://schemas.microsoft.com/office/powerpoint/2010/main" val="1701506746"/>
              </p:ext>
            </p:extLst>
          </p:nvPr>
        </p:nvGraphicFramePr>
        <p:xfrm>
          <a:off x="6526225" y="1012887"/>
          <a:ext cx="5124450" cy="4722813"/>
        </p:xfrm>
        <a:graphic>
          <a:graphicData uri="http://schemas.openxmlformats.org/presentationml/2006/ole">
            <mc:AlternateContent xmlns:mc="http://schemas.openxmlformats.org/markup-compatibility/2006">
              <mc:Choice xmlns:v="urn:schemas-microsoft-com:vml" Requires="v">
                <p:oleObj name="Macrobond document" r:id="rId5" imgW="5123742" imgH="4723318" progId="Mbnd.mbnd">
                  <p:embed/>
                </p:oleObj>
              </mc:Choice>
              <mc:Fallback>
                <p:oleObj name="Macrobond document" r:id="rId5" imgW="5123742" imgH="4723318" progId="Mbnd.mbnd">
                  <p:embed/>
                  <p:pic>
                    <p:nvPicPr>
                      <p:cNvPr id="7" name="Object 6">
                        <a:extLst>
                          <a:ext uri="{FF2B5EF4-FFF2-40B4-BE49-F238E27FC236}">
                            <a16:creationId xmlns:a16="http://schemas.microsoft.com/office/drawing/2014/main" id="{CBEDCFC8-7CA9-808E-741F-50A9548705C9}"/>
                          </a:ext>
                        </a:extLst>
                      </p:cNvPr>
                      <p:cNvPicPr/>
                      <p:nvPr/>
                    </p:nvPicPr>
                    <p:blipFill>
                      <a:blip r:embed="rId6"/>
                      <a:stretch>
                        <a:fillRect/>
                      </a:stretch>
                    </p:blipFill>
                    <p:spPr>
                      <a:xfrm>
                        <a:off x="6526225" y="1012887"/>
                        <a:ext cx="5124450" cy="4722813"/>
                      </a:xfrm>
                      <a:prstGeom prst="rect">
                        <a:avLst/>
                      </a:prstGeom>
                    </p:spPr>
                  </p:pic>
                </p:oleObj>
              </mc:Fallback>
            </mc:AlternateContent>
          </a:graphicData>
        </a:graphic>
      </p:graphicFrame>
      <p:sp>
        <p:nvSpPr>
          <p:cNvPr id="2" name="Content Placeholder 10">
            <a:extLst>
              <a:ext uri="{FF2B5EF4-FFF2-40B4-BE49-F238E27FC236}">
                <a16:creationId xmlns:a16="http://schemas.microsoft.com/office/drawing/2014/main" id="{9A99CA7E-BC80-D747-F7D4-CAD11A9118BB}"/>
              </a:ext>
            </a:extLst>
          </p:cNvPr>
          <p:cNvSpPr txBox="1">
            <a:spLocks/>
          </p:cNvSpPr>
          <p:nvPr/>
        </p:nvSpPr>
        <p:spPr>
          <a:xfrm>
            <a:off x="6764055" y="6172323"/>
            <a:ext cx="4950628"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dirty="0"/>
              <a:t>…while that in labour markets is suggesting slowing wages growth</a:t>
            </a:r>
          </a:p>
        </p:txBody>
      </p:sp>
      <p:sp>
        <p:nvSpPr>
          <p:cNvPr id="5" name="TextBox 4">
            <a:extLst>
              <a:ext uri="{FF2B5EF4-FFF2-40B4-BE49-F238E27FC236}">
                <a16:creationId xmlns:a16="http://schemas.microsoft.com/office/drawing/2014/main" id="{3D65A46A-1644-D449-871A-E3277CDF6DF5}"/>
              </a:ext>
            </a:extLst>
          </p:cNvPr>
          <p:cNvSpPr txBox="1"/>
          <p:nvPr/>
        </p:nvSpPr>
        <p:spPr>
          <a:xfrm>
            <a:off x="12203125" y="21787"/>
            <a:ext cx="2031463" cy="6093976"/>
          </a:xfrm>
          <a:prstGeom prst="rect">
            <a:avLst/>
          </a:prstGeom>
          <a:solidFill>
            <a:schemeClr val="bg1"/>
          </a:solidFill>
        </p:spPr>
        <p:txBody>
          <a:bodyPr wrap="square" rtlCol="0">
            <a:spAutoFit/>
          </a:bodyPr>
          <a:lstStyle/>
          <a:p>
            <a:r>
              <a:rPr lang="en-AU" sz="1800" dirty="0">
                <a:solidFill>
                  <a:schemeClr val="accent1">
                    <a:lumMod val="75000"/>
                  </a:schemeClr>
                </a:solidFill>
              </a:rPr>
              <a:t>First graph will need to be explained with a bit of detail – it has a lot of information to connect to demand and supply forces.</a:t>
            </a:r>
          </a:p>
          <a:p>
            <a:r>
              <a:rPr lang="en-AU" sz="1800" dirty="0">
                <a:solidFill>
                  <a:schemeClr val="accent1">
                    <a:lumMod val="75000"/>
                  </a:schemeClr>
                </a:solidFill>
              </a:rPr>
              <a:t>The reference to inflation re the first graph – can this be to demand pull inflation?</a:t>
            </a:r>
          </a:p>
          <a:p>
            <a:r>
              <a:rPr lang="en-AU" sz="1800" dirty="0">
                <a:solidFill>
                  <a:schemeClr val="accent1">
                    <a:lumMod val="75000"/>
                  </a:schemeClr>
                </a:solidFill>
              </a:rPr>
              <a:t>Connect product demand to labour demand – demand for labour being derived from the demand for products.</a:t>
            </a:r>
          </a:p>
        </p:txBody>
      </p:sp>
    </p:spTree>
    <p:extLst>
      <p:ext uri="{BB962C8B-B14F-4D97-AF65-F5344CB8AC3E}">
        <p14:creationId xmlns:p14="http://schemas.microsoft.com/office/powerpoint/2010/main" val="419546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709D2C-855C-61D4-8090-EC43BD9DACBD}"/>
              </a:ext>
            </a:extLst>
          </p:cNvPr>
          <p:cNvSpPr>
            <a:spLocks noGrp="1"/>
          </p:cNvSpPr>
          <p:nvPr>
            <p:ph type="title"/>
          </p:nvPr>
        </p:nvSpPr>
        <p:spPr>
          <a:xfrm>
            <a:off x="864487" y="261442"/>
            <a:ext cx="5112643" cy="576264"/>
          </a:xfrm>
        </p:spPr>
        <p:txBody>
          <a:bodyPr/>
          <a:lstStyle/>
          <a:p>
            <a:pPr algn="l">
              <a:spcAft>
                <a:spcPts val="0"/>
              </a:spcAft>
              <a:buClrTx/>
              <a:buFontTx/>
            </a:pPr>
            <a:r>
              <a:rPr lang="en-AU"/>
              <a:t>Agenda</a:t>
            </a:r>
          </a:p>
        </p:txBody>
      </p:sp>
      <p:sp>
        <p:nvSpPr>
          <p:cNvPr id="4" name="Date Placeholder 3">
            <a:extLst>
              <a:ext uri="{FF2B5EF4-FFF2-40B4-BE49-F238E27FC236}">
                <a16:creationId xmlns:a16="http://schemas.microsoft.com/office/drawing/2014/main" id="{D88B42D8-DC50-B30D-02DE-BB70EFB08D9D}"/>
              </a:ext>
            </a:extLst>
          </p:cNvPr>
          <p:cNvSpPr>
            <a:spLocks noGrp="1"/>
          </p:cNvSpPr>
          <p:nvPr>
            <p:ph type="dt" sz="half" idx="12"/>
          </p:nvPr>
        </p:nvSpPr>
        <p:spPr/>
        <p:txBody>
          <a:bodyPr/>
          <a:lstStyle/>
          <a:p>
            <a:endParaRPr lang="en-AU" dirty="0"/>
          </a:p>
        </p:txBody>
      </p:sp>
      <p:sp>
        <p:nvSpPr>
          <p:cNvPr id="6" name="Slide Number Placeholder 5">
            <a:extLst>
              <a:ext uri="{FF2B5EF4-FFF2-40B4-BE49-F238E27FC236}">
                <a16:creationId xmlns:a16="http://schemas.microsoft.com/office/drawing/2014/main" id="{BFD8B18E-AA41-E48F-BAAB-0BA611158D81}"/>
              </a:ext>
            </a:extLst>
          </p:cNvPr>
          <p:cNvSpPr>
            <a:spLocks noGrp="1"/>
          </p:cNvSpPr>
          <p:nvPr>
            <p:ph type="sldNum" sz="quarter" idx="14"/>
          </p:nvPr>
        </p:nvSpPr>
        <p:spPr/>
        <p:txBody>
          <a:bodyPr/>
          <a:lstStyle/>
          <a:p>
            <a:fld id="{E917DE0E-AFB1-41FD-BC35-27DB61CA125F}" type="slidenum">
              <a:rPr lang="en-AU" smtClean="0"/>
              <a:pPr/>
              <a:t>2</a:t>
            </a:fld>
            <a:endParaRPr lang="en-AU"/>
          </a:p>
        </p:txBody>
      </p:sp>
      <p:sp>
        <p:nvSpPr>
          <p:cNvPr id="2" name="Content Placeholder 1">
            <a:extLst>
              <a:ext uri="{FF2B5EF4-FFF2-40B4-BE49-F238E27FC236}">
                <a16:creationId xmlns:a16="http://schemas.microsoft.com/office/drawing/2014/main" id="{E3241140-915B-2B38-FE7E-C7A68C43D581}"/>
              </a:ext>
            </a:extLst>
          </p:cNvPr>
          <p:cNvSpPr txBox="1">
            <a:spLocks/>
          </p:cNvSpPr>
          <p:nvPr/>
        </p:nvSpPr>
        <p:spPr>
          <a:xfrm>
            <a:off x="858967" y="1485578"/>
            <a:ext cx="10791708" cy="5112568"/>
          </a:xfrm>
          <a:prstGeom prst="rect">
            <a:avLst/>
          </a:prstGeom>
        </p:spPr>
        <p:txBody>
          <a:bodyPr vert="horz" lIns="0" tIns="0" rIns="0" bIns="0" numCol="2" spcCol="36000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2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2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1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marR="0" indent="0" algn="l" defTabSz="1088776" rtl="0" eaLnBrk="1" fontAlgn="auto" latinLnBrk="0" hangingPunct="1">
              <a:lnSpc>
                <a:spcPct val="90000"/>
              </a:lnSpc>
              <a:spcBef>
                <a:spcPts val="600"/>
              </a:spcBef>
              <a:spcAft>
                <a:spcPts val="400"/>
              </a:spcAft>
              <a:buClrTx/>
              <a:buSzTx/>
              <a:buFont typeface="+mj-lt"/>
              <a:buNone/>
              <a:tabLst/>
              <a:defRPr lang="en-US" sz="2000" b="0" kern="1200" baseline="0" dirty="0" smtClean="0">
                <a:solidFill>
                  <a:schemeClr val="tx1"/>
                </a:solidFill>
                <a:latin typeface="Bahnschrift" panose="020B0502040204020203" pitchFamily="34" charset="0"/>
                <a:ea typeface="+mn-ea"/>
                <a:cs typeface="+mn-cs"/>
              </a:defRPr>
            </a:lvl5pPr>
            <a:lvl6pPr marL="360000" indent="-360000" algn="l" defTabSz="1088776" rtl="0" eaLnBrk="1" latinLnBrk="0" hangingPunct="1">
              <a:lnSpc>
                <a:spcPct val="90000"/>
              </a:lnSpc>
              <a:spcBef>
                <a:spcPts val="2000"/>
              </a:spcBef>
              <a:spcAft>
                <a:spcPts val="1000"/>
              </a:spcAft>
              <a:buFont typeface="+mj-lt"/>
              <a:buAutoNum type="arabicPeriod"/>
              <a:defRPr lang="en-US" sz="1400" b="0" kern="1200" dirty="0" smtClean="0">
                <a:solidFill>
                  <a:schemeClr val="tx1"/>
                </a:solidFill>
                <a:latin typeface="Bahnschrift" panose="020B0502040204020203" pitchFamily="34" charset="0"/>
                <a:ea typeface="+mn-ea"/>
                <a:cs typeface="+mn-cs"/>
              </a:defRPr>
            </a:lvl6pPr>
            <a:lvl7pPr marL="720000" indent="-360000" algn="l" defTabSz="1088776" rtl="0" eaLnBrk="1" latinLnBrk="0" hangingPunct="1">
              <a:spcBef>
                <a:spcPts val="0"/>
              </a:spcBef>
              <a:spcAft>
                <a:spcPts val="1000"/>
              </a:spcAft>
              <a:buClr>
                <a:schemeClr val="tx1"/>
              </a:buClr>
              <a:buFont typeface="+mj-lt"/>
              <a:buAutoNum type="romanLcPeriod"/>
              <a:tabLst/>
              <a:defRPr sz="1200" kern="1200">
                <a:solidFill>
                  <a:schemeClr val="tx1"/>
                </a:solidFill>
                <a:latin typeface="Bahnschrift Light" panose="020B0502040204020203" pitchFamily="34" charset="0"/>
                <a:ea typeface="+mn-ea"/>
                <a:cs typeface="+mn-cs"/>
              </a:defRPr>
            </a:lvl7pPr>
            <a:lvl8pPr marL="900000" indent="-360000" algn="l" defTabSz="1088776" rtl="0" eaLnBrk="1" latinLnBrk="0" hangingPunct="1">
              <a:spcBef>
                <a:spcPts val="0"/>
              </a:spcBef>
              <a:spcAft>
                <a:spcPts val="800"/>
              </a:spcAft>
              <a:buClr>
                <a:schemeClr val="tx1">
                  <a:lumMod val="50000"/>
                  <a:lumOff val="50000"/>
                </a:schemeClr>
              </a:buClr>
              <a:buFont typeface="+mj-lt"/>
              <a:buAutoNum type="romanLcPeriod"/>
              <a:tabLst/>
              <a:defRPr sz="11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pPr lvl="5"/>
            <a:r>
              <a:rPr lang="en-AU" sz="1800" dirty="0"/>
              <a:t>Global economy</a:t>
            </a:r>
          </a:p>
          <a:p>
            <a:pPr lvl="6"/>
            <a:r>
              <a:rPr lang="en-AU" sz="1600" dirty="0"/>
              <a:t>US trade policy</a:t>
            </a:r>
          </a:p>
          <a:p>
            <a:pPr lvl="6"/>
            <a:r>
              <a:rPr lang="en-AU" sz="1600" dirty="0"/>
              <a:t>US fiscal risks</a:t>
            </a:r>
          </a:p>
          <a:p>
            <a:pPr lvl="6"/>
            <a:r>
              <a:rPr lang="en-US" sz="1600" dirty="0"/>
              <a:t>Could we see a correction to the AI-</a:t>
            </a:r>
            <a:r>
              <a:rPr lang="en-US" sz="1600" dirty="0" err="1"/>
              <a:t>fuelled</a:t>
            </a:r>
            <a:r>
              <a:rPr lang="en-US" sz="1600" dirty="0"/>
              <a:t> equity rally?</a:t>
            </a:r>
            <a:endParaRPr lang="en-AU" sz="1600" dirty="0"/>
          </a:p>
          <a:p>
            <a:pPr lvl="5"/>
            <a:r>
              <a:rPr lang="en-AU" sz="1800" dirty="0"/>
              <a:t>National economy</a:t>
            </a:r>
          </a:p>
          <a:p>
            <a:pPr lvl="5"/>
            <a:r>
              <a:rPr lang="en-AU" sz="1800" dirty="0"/>
              <a:t>State economy</a:t>
            </a:r>
          </a:p>
          <a:p>
            <a:pPr lvl="5"/>
            <a:r>
              <a:rPr lang="en-AU" sz="1800" dirty="0"/>
              <a:t>Case study – Infrastructure construction</a:t>
            </a:r>
          </a:p>
        </p:txBody>
      </p:sp>
    </p:spTree>
    <p:extLst>
      <p:ext uri="{BB962C8B-B14F-4D97-AF65-F5344CB8AC3E}">
        <p14:creationId xmlns:p14="http://schemas.microsoft.com/office/powerpoint/2010/main" val="162363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96C982-3A81-D8E7-E42C-1CDB0B046B3A}"/>
              </a:ext>
            </a:extLst>
          </p:cNvPr>
          <p:cNvSpPr>
            <a:spLocks noGrp="1"/>
          </p:cNvSpPr>
          <p:nvPr>
            <p:ph type="title"/>
          </p:nvPr>
        </p:nvSpPr>
        <p:spPr>
          <a:xfrm>
            <a:off x="696912" y="0"/>
            <a:ext cx="10801350" cy="576264"/>
          </a:xfrm>
        </p:spPr>
        <p:txBody>
          <a:bodyPr/>
          <a:lstStyle/>
          <a:p>
            <a:r>
              <a:rPr lang="en-US" dirty="0"/>
              <a:t>Might the RBA start hiking rates?</a:t>
            </a:r>
          </a:p>
        </p:txBody>
      </p:sp>
      <p:sp>
        <p:nvSpPr>
          <p:cNvPr id="17" name="Slide Number Placeholder 16">
            <a:extLst>
              <a:ext uri="{FF2B5EF4-FFF2-40B4-BE49-F238E27FC236}">
                <a16:creationId xmlns:a16="http://schemas.microsoft.com/office/drawing/2014/main" id="{A22BE479-268D-2AE7-D21B-7087D6ECFF17}"/>
              </a:ext>
            </a:extLst>
          </p:cNvPr>
          <p:cNvSpPr>
            <a:spLocks noGrp="1"/>
          </p:cNvSpPr>
          <p:nvPr>
            <p:ph type="sldNum" sz="quarter" idx="16"/>
          </p:nvPr>
        </p:nvSpPr>
        <p:spPr/>
        <p:txBody>
          <a:bodyPr/>
          <a:lstStyle/>
          <a:p>
            <a:fld id="{E917DE0E-AFB1-41FD-BC35-27DB61CA125F}" type="slidenum">
              <a:rPr lang="en-AU" smtClean="0"/>
              <a:pPr/>
              <a:t>20</a:t>
            </a:fld>
            <a:endParaRPr lang="en-AU" dirty="0"/>
          </a:p>
        </p:txBody>
      </p:sp>
      <p:sp>
        <p:nvSpPr>
          <p:cNvPr id="19" name="Content Placeholder 10">
            <a:extLst>
              <a:ext uri="{FF2B5EF4-FFF2-40B4-BE49-F238E27FC236}">
                <a16:creationId xmlns:a16="http://schemas.microsoft.com/office/drawing/2014/main" id="{F9E929A9-5A17-E005-D66A-A6AA2E7EF172}"/>
              </a:ext>
            </a:extLst>
          </p:cNvPr>
          <p:cNvSpPr txBox="1">
            <a:spLocks/>
          </p:cNvSpPr>
          <p:nvPr/>
        </p:nvSpPr>
        <p:spPr>
          <a:xfrm>
            <a:off x="754208" y="6172326"/>
            <a:ext cx="10744053"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dirty="0"/>
              <a:t>Our latest forecasts and scenario analysis was finalised prior to the Q3 CPI data. The next update will likely see a baseline of no more cuts with this having a probability of 40%, one more cut (30%), earlier hikes (20%), two more cuts (5%), global recession (5%).</a:t>
            </a:r>
          </a:p>
        </p:txBody>
      </p:sp>
      <p:graphicFrame>
        <p:nvGraphicFramePr>
          <p:cNvPr id="2" name="Object 1">
            <a:extLst>
              <a:ext uri="{FF2B5EF4-FFF2-40B4-BE49-F238E27FC236}">
                <a16:creationId xmlns:a16="http://schemas.microsoft.com/office/drawing/2014/main" id="{55213B35-AF1C-49D6-F065-B6D5BC9AC4B4}"/>
              </a:ext>
            </a:extLst>
          </p:cNvPr>
          <p:cNvGraphicFramePr>
            <a:graphicFrameLocks noChangeAspect="1"/>
          </p:cNvGraphicFramePr>
          <p:nvPr>
            <p:extLst>
              <p:ext uri="{D42A27DB-BD31-4B8C-83A1-F6EECF244321}">
                <p14:modId xmlns:p14="http://schemas.microsoft.com/office/powerpoint/2010/main" val="4010554840"/>
              </p:ext>
            </p:extLst>
          </p:nvPr>
        </p:nvGraphicFramePr>
        <p:xfrm>
          <a:off x="688142" y="1012888"/>
          <a:ext cx="5124450" cy="4722813"/>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2" name="Object 1">
                        <a:extLst>
                          <a:ext uri="{FF2B5EF4-FFF2-40B4-BE49-F238E27FC236}">
                            <a16:creationId xmlns:a16="http://schemas.microsoft.com/office/drawing/2014/main" id="{55213B35-AF1C-49D6-F065-B6D5BC9AC4B4}"/>
                          </a:ext>
                        </a:extLst>
                      </p:cNvPr>
                      <p:cNvPicPr/>
                      <p:nvPr/>
                    </p:nvPicPr>
                    <p:blipFill>
                      <a:blip r:embed="rId4"/>
                      <a:stretch>
                        <a:fillRect/>
                      </a:stretch>
                    </p:blipFill>
                    <p:spPr>
                      <a:xfrm>
                        <a:off x="688142" y="1012888"/>
                        <a:ext cx="5124450" cy="4722813"/>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9FB695A-E367-1C52-9C6A-E28228C6EF26}"/>
              </a:ext>
            </a:extLst>
          </p:cNvPr>
          <p:cNvSpPr txBox="1"/>
          <p:nvPr/>
        </p:nvSpPr>
        <p:spPr>
          <a:xfrm>
            <a:off x="7839194" y="1041577"/>
            <a:ext cx="4073236" cy="307777"/>
          </a:xfrm>
          <a:prstGeom prst="rect">
            <a:avLst/>
          </a:prstGeom>
          <a:noFill/>
        </p:spPr>
        <p:txBody>
          <a:bodyPr wrap="square" rtlCol="0">
            <a:spAutoFit/>
          </a:bodyPr>
          <a:lstStyle/>
          <a:p>
            <a:r>
              <a:rPr lang="en-AU" b="1" dirty="0"/>
              <a:t>RBA Cash Rate Scenarios</a:t>
            </a:r>
          </a:p>
        </p:txBody>
      </p:sp>
      <p:pic>
        <p:nvPicPr>
          <p:cNvPr id="6" name="Picture 5">
            <a:extLst>
              <a:ext uri="{FF2B5EF4-FFF2-40B4-BE49-F238E27FC236}">
                <a16:creationId xmlns:a16="http://schemas.microsoft.com/office/drawing/2014/main" id="{4B20A63F-40D6-7167-EE98-5A6CB031EED4}"/>
              </a:ext>
            </a:extLst>
          </p:cNvPr>
          <p:cNvPicPr>
            <a:picLocks noChangeAspect="1"/>
          </p:cNvPicPr>
          <p:nvPr/>
        </p:nvPicPr>
        <p:blipFill>
          <a:blip r:embed="rId5"/>
          <a:stretch>
            <a:fillRect/>
          </a:stretch>
        </p:blipFill>
        <p:spPr>
          <a:xfrm>
            <a:off x="5993097" y="1349354"/>
            <a:ext cx="5505165" cy="4285859"/>
          </a:xfrm>
          <a:prstGeom prst="rect">
            <a:avLst/>
          </a:prstGeom>
        </p:spPr>
      </p:pic>
    </p:spTree>
    <p:extLst>
      <p:ext uri="{BB962C8B-B14F-4D97-AF65-F5344CB8AC3E}">
        <p14:creationId xmlns:p14="http://schemas.microsoft.com/office/powerpoint/2010/main" val="912036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1E60F-33D1-96B3-E297-BB11BDCF6969}"/>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A3652372-7DD5-B017-2A78-BB0789329DC5}"/>
              </a:ext>
            </a:extLst>
          </p:cNvPr>
          <p:cNvSpPr>
            <a:spLocks noGrp="1"/>
          </p:cNvSpPr>
          <p:nvPr>
            <p:ph type="body" idx="18"/>
          </p:nvPr>
        </p:nvSpPr>
        <p:spPr>
          <a:xfrm>
            <a:off x="634206" y="2757237"/>
            <a:ext cx="10926762" cy="1345114"/>
          </a:xfrm>
        </p:spPr>
        <p:txBody>
          <a:bodyPr/>
          <a:lstStyle/>
          <a:p>
            <a:r>
              <a:rPr lang="en-AU" dirty="0"/>
              <a:t>State economy</a:t>
            </a:r>
          </a:p>
        </p:txBody>
      </p:sp>
      <p:sp>
        <p:nvSpPr>
          <p:cNvPr id="6" name="Slide Number Placeholder 5">
            <a:extLst>
              <a:ext uri="{FF2B5EF4-FFF2-40B4-BE49-F238E27FC236}">
                <a16:creationId xmlns:a16="http://schemas.microsoft.com/office/drawing/2014/main" id="{34312E9A-AF97-5545-4E07-4BFBC8625E65}"/>
              </a:ext>
            </a:extLst>
          </p:cNvPr>
          <p:cNvSpPr>
            <a:spLocks noGrp="1"/>
          </p:cNvSpPr>
          <p:nvPr>
            <p:ph type="sldNum" sz="quarter" idx="20"/>
          </p:nvPr>
        </p:nvSpPr>
        <p:spPr/>
        <p:txBody>
          <a:bodyPr/>
          <a:lstStyle/>
          <a:p>
            <a:fld id="{E917DE0E-AFB1-41FD-BC35-27DB61CA125F}" type="slidenum">
              <a:rPr lang="en-AU" smtClean="0"/>
              <a:pPr/>
              <a:t>21</a:t>
            </a:fld>
            <a:endParaRPr lang="en-AU"/>
          </a:p>
        </p:txBody>
      </p:sp>
    </p:spTree>
    <p:extLst>
      <p:ext uri="{BB962C8B-B14F-4D97-AF65-F5344CB8AC3E}">
        <p14:creationId xmlns:p14="http://schemas.microsoft.com/office/powerpoint/2010/main" val="235523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9CFEC5-2B74-41D3-9C7E-91985FE0D196}"/>
              </a:ext>
            </a:extLst>
          </p:cNvPr>
          <p:cNvSpPr>
            <a:spLocks noGrp="1"/>
          </p:cNvSpPr>
          <p:nvPr>
            <p:ph type="title"/>
          </p:nvPr>
        </p:nvSpPr>
        <p:spPr>
          <a:xfrm>
            <a:off x="417023" y="241564"/>
            <a:ext cx="10801350" cy="576264"/>
          </a:xfrm>
        </p:spPr>
        <p:txBody>
          <a:bodyPr/>
          <a:lstStyle/>
          <a:p>
            <a:pPr algn="l"/>
            <a:r>
              <a:rPr lang="en-AU" sz="3600"/>
              <a:t>Forecasts</a:t>
            </a:r>
          </a:p>
        </p:txBody>
      </p:sp>
      <p:sp>
        <p:nvSpPr>
          <p:cNvPr id="3" name="Slide Number Placeholder 2">
            <a:extLst>
              <a:ext uri="{FF2B5EF4-FFF2-40B4-BE49-F238E27FC236}">
                <a16:creationId xmlns:a16="http://schemas.microsoft.com/office/drawing/2014/main" id="{5864825B-4F0C-4EC8-95F1-33C54415D3EA}"/>
              </a:ext>
            </a:extLst>
          </p:cNvPr>
          <p:cNvSpPr>
            <a:spLocks noGrp="1"/>
          </p:cNvSpPr>
          <p:nvPr>
            <p:ph type="sldNum" sz="quarter" idx="13"/>
          </p:nvPr>
        </p:nvSpPr>
        <p:spPr/>
        <p:txBody>
          <a:bodyPr/>
          <a:lstStyle/>
          <a:p>
            <a:fld id="{E917DE0E-AFB1-41FD-BC35-27DB61CA125F}" type="slidenum">
              <a:rPr lang="en-AU" smtClean="0"/>
              <a:pPr/>
              <a:t>22</a:t>
            </a:fld>
            <a:endParaRPr lang="en-AU"/>
          </a:p>
        </p:txBody>
      </p:sp>
      <p:sp>
        <p:nvSpPr>
          <p:cNvPr id="2" name="Content Placeholder 10">
            <a:extLst>
              <a:ext uri="{FF2B5EF4-FFF2-40B4-BE49-F238E27FC236}">
                <a16:creationId xmlns:a16="http://schemas.microsoft.com/office/drawing/2014/main" id="{E5D2149F-9282-9DB3-34DD-5A6C26472A8D}"/>
              </a:ext>
            </a:extLst>
          </p:cNvPr>
          <p:cNvSpPr txBox="1">
            <a:spLocks/>
          </p:cNvSpPr>
          <p:nvPr/>
        </p:nvSpPr>
        <p:spPr>
          <a:xfrm>
            <a:off x="558801" y="5975345"/>
            <a:ext cx="5400674" cy="576263"/>
          </a:xfrm>
          <a:prstGeom prst="rect">
            <a:avLst/>
          </a:prstGeom>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endParaRPr lang="en-AU"/>
          </a:p>
        </p:txBody>
      </p:sp>
      <p:sp>
        <p:nvSpPr>
          <p:cNvPr id="6" name="Content Placeholder 10">
            <a:extLst>
              <a:ext uri="{FF2B5EF4-FFF2-40B4-BE49-F238E27FC236}">
                <a16:creationId xmlns:a16="http://schemas.microsoft.com/office/drawing/2014/main" id="{513FE6C8-9AFC-04A3-7383-925B2FDE8CCF}"/>
              </a:ext>
            </a:extLst>
          </p:cNvPr>
          <p:cNvSpPr txBox="1">
            <a:spLocks/>
          </p:cNvSpPr>
          <p:nvPr/>
        </p:nvSpPr>
        <p:spPr>
          <a:xfrm>
            <a:off x="558801" y="4791237"/>
            <a:ext cx="5400674" cy="576263"/>
          </a:xfrm>
          <a:prstGeom prst="rect">
            <a:avLst/>
          </a:prstGeom>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endParaRPr lang="en-AU"/>
          </a:p>
        </p:txBody>
      </p:sp>
      <p:sp>
        <p:nvSpPr>
          <p:cNvPr id="5" name="Content Placeholder 10">
            <a:extLst>
              <a:ext uri="{FF2B5EF4-FFF2-40B4-BE49-F238E27FC236}">
                <a16:creationId xmlns:a16="http://schemas.microsoft.com/office/drawing/2014/main" id="{10DAF8A7-944F-074F-B11D-09A9D5FE3609}"/>
              </a:ext>
            </a:extLst>
          </p:cNvPr>
          <p:cNvSpPr txBox="1">
            <a:spLocks/>
          </p:cNvSpPr>
          <p:nvPr/>
        </p:nvSpPr>
        <p:spPr>
          <a:xfrm>
            <a:off x="6169053" y="817828"/>
            <a:ext cx="5553073" cy="3057818"/>
          </a:xfrm>
          <a:prstGeom prst="rect">
            <a:avLst/>
          </a:prstGeom>
          <a:noFill/>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pPr>
              <a:buClr>
                <a:schemeClr val="accent1"/>
              </a:buClr>
            </a:pPr>
            <a:r>
              <a:rPr lang="en-AU" b="1" dirty="0"/>
              <a:t>The general story per the forecasts are for:</a:t>
            </a:r>
          </a:p>
          <a:p>
            <a:pPr>
              <a:buClr>
                <a:schemeClr val="tx2"/>
              </a:buClr>
            </a:pPr>
            <a:r>
              <a:rPr lang="en-US" dirty="0"/>
              <a:t>QLD’s GSP growth is forecast to strengthen to 2½ per cent in FY25 given government service delivery and a large capital program. It should then strengthen slightly to 2¾ per cent in FY26 as private sector activity picks-up before easing back to 2½  pr cent across the rest of the FEs.</a:t>
            </a:r>
          </a:p>
          <a:p>
            <a:pPr>
              <a:buClr>
                <a:schemeClr val="tx2"/>
              </a:buClr>
            </a:pPr>
            <a:r>
              <a:rPr lang="en-US" dirty="0"/>
              <a:t>Population growth is projected to moderate across the forecast period, slowing from 2.5 per cent in FY24 to 1¾ per cent in FY25 and then 1½ per cent in FY26 and FY27. A key driver of this moderation is the reduction in the Australian Government’s immigration program.</a:t>
            </a:r>
            <a:endParaRPr lang="en-AU" dirty="0"/>
          </a:p>
        </p:txBody>
      </p:sp>
      <p:pic>
        <p:nvPicPr>
          <p:cNvPr id="11" name="Picture 10">
            <a:extLst>
              <a:ext uri="{FF2B5EF4-FFF2-40B4-BE49-F238E27FC236}">
                <a16:creationId xmlns:a16="http://schemas.microsoft.com/office/drawing/2014/main" id="{9203C487-0DD2-A0B3-A21F-04F9EC14315F}"/>
              </a:ext>
            </a:extLst>
          </p:cNvPr>
          <p:cNvPicPr>
            <a:picLocks noChangeAspect="1"/>
          </p:cNvPicPr>
          <p:nvPr/>
        </p:nvPicPr>
        <p:blipFill>
          <a:blip r:embed="rId3"/>
          <a:stretch>
            <a:fillRect/>
          </a:stretch>
        </p:blipFill>
        <p:spPr>
          <a:xfrm>
            <a:off x="346019" y="817829"/>
            <a:ext cx="4629217" cy="5924548"/>
          </a:xfrm>
          <a:prstGeom prst="rect">
            <a:avLst/>
          </a:prstGeom>
        </p:spPr>
      </p:pic>
      <p:pic>
        <p:nvPicPr>
          <p:cNvPr id="13" name="Picture 12">
            <a:extLst>
              <a:ext uri="{FF2B5EF4-FFF2-40B4-BE49-F238E27FC236}">
                <a16:creationId xmlns:a16="http://schemas.microsoft.com/office/drawing/2014/main" id="{B116A194-D4E1-4DD0-2634-4BB505C72AB3}"/>
              </a:ext>
            </a:extLst>
          </p:cNvPr>
          <p:cNvPicPr>
            <a:picLocks noChangeAspect="1"/>
          </p:cNvPicPr>
          <p:nvPr/>
        </p:nvPicPr>
        <p:blipFill>
          <a:blip r:embed="rId4"/>
          <a:stretch>
            <a:fillRect/>
          </a:stretch>
        </p:blipFill>
        <p:spPr>
          <a:xfrm>
            <a:off x="5959475" y="3588250"/>
            <a:ext cx="5807131" cy="2903566"/>
          </a:xfrm>
          <a:prstGeom prst="rect">
            <a:avLst/>
          </a:prstGeom>
        </p:spPr>
      </p:pic>
    </p:spTree>
    <p:extLst>
      <p:ext uri="{BB962C8B-B14F-4D97-AF65-F5344CB8AC3E}">
        <p14:creationId xmlns:p14="http://schemas.microsoft.com/office/powerpoint/2010/main" val="1542495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9CFEC5-2B74-41D3-9C7E-91985FE0D196}"/>
              </a:ext>
            </a:extLst>
          </p:cNvPr>
          <p:cNvSpPr>
            <a:spLocks noGrp="1"/>
          </p:cNvSpPr>
          <p:nvPr>
            <p:ph type="title"/>
          </p:nvPr>
        </p:nvSpPr>
        <p:spPr>
          <a:xfrm>
            <a:off x="407596" y="241563"/>
            <a:ext cx="10801350" cy="576264"/>
          </a:xfrm>
        </p:spPr>
        <p:txBody>
          <a:bodyPr/>
          <a:lstStyle/>
          <a:p>
            <a:pPr algn="l"/>
            <a:r>
              <a:rPr lang="en-AU" sz="3600"/>
              <a:t>Cross-state forecasts – Population</a:t>
            </a:r>
          </a:p>
        </p:txBody>
      </p:sp>
      <p:sp>
        <p:nvSpPr>
          <p:cNvPr id="3" name="Slide Number Placeholder 2">
            <a:extLst>
              <a:ext uri="{FF2B5EF4-FFF2-40B4-BE49-F238E27FC236}">
                <a16:creationId xmlns:a16="http://schemas.microsoft.com/office/drawing/2014/main" id="{5864825B-4F0C-4EC8-95F1-33C54415D3EA}"/>
              </a:ext>
            </a:extLst>
          </p:cNvPr>
          <p:cNvSpPr>
            <a:spLocks noGrp="1"/>
          </p:cNvSpPr>
          <p:nvPr>
            <p:ph type="sldNum" sz="quarter" idx="13"/>
          </p:nvPr>
        </p:nvSpPr>
        <p:spPr/>
        <p:txBody>
          <a:bodyPr/>
          <a:lstStyle/>
          <a:p>
            <a:fld id="{E917DE0E-AFB1-41FD-BC35-27DB61CA125F}" type="slidenum">
              <a:rPr lang="en-AU" smtClean="0"/>
              <a:pPr/>
              <a:t>23</a:t>
            </a:fld>
            <a:endParaRPr lang="en-AU"/>
          </a:p>
        </p:txBody>
      </p:sp>
      <p:sp>
        <p:nvSpPr>
          <p:cNvPr id="2" name="Content Placeholder 10">
            <a:extLst>
              <a:ext uri="{FF2B5EF4-FFF2-40B4-BE49-F238E27FC236}">
                <a16:creationId xmlns:a16="http://schemas.microsoft.com/office/drawing/2014/main" id="{E5D2149F-9282-9DB3-34DD-5A6C26472A8D}"/>
              </a:ext>
            </a:extLst>
          </p:cNvPr>
          <p:cNvSpPr txBox="1">
            <a:spLocks/>
          </p:cNvSpPr>
          <p:nvPr/>
        </p:nvSpPr>
        <p:spPr>
          <a:xfrm>
            <a:off x="558801" y="5975345"/>
            <a:ext cx="5400674" cy="576263"/>
          </a:xfrm>
          <a:prstGeom prst="rect">
            <a:avLst/>
          </a:prstGeom>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endParaRPr lang="en-AU"/>
          </a:p>
        </p:txBody>
      </p:sp>
      <p:sp>
        <p:nvSpPr>
          <p:cNvPr id="6" name="Content Placeholder 10">
            <a:extLst>
              <a:ext uri="{FF2B5EF4-FFF2-40B4-BE49-F238E27FC236}">
                <a16:creationId xmlns:a16="http://schemas.microsoft.com/office/drawing/2014/main" id="{513FE6C8-9AFC-04A3-7383-925B2FDE8CCF}"/>
              </a:ext>
            </a:extLst>
          </p:cNvPr>
          <p:cNvSpPr txBox="1">
            <a:spLocks/>
          </p:cNvSpPr>
          <p:nvPr/>
        </p:nvSpPr>
        <p:spPr>
          <a:xfrm>
            <a:off x="558801" y="4791237"/>
            <a:ext cx="5400674" cy="576263"/>
          </a:xfrm>
          <a:prstGeom prst="rect">
            <a:avLst/>
          </a:prstGeom>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endParaRPr lang="en-AU"/>
          </a:p>
        </p:txBody>
      </p:sp>
      <p:graphicFrame>
        <p:nvGraphicFramePr>
          <p:cNvPr id="5" name="Object 4">
            <a:extLst>
              <a:ext uri="{FF2B5EF4-FFF2-40B4-BE49-F238E27FC236}">
                <a16:creationId xmlns:a16="http://schemas.microsoft.com/office/drawing/2014/main" id="{531EC305-AF19-07B4-6636-BEDAEBFFA36F}"/>
              </a:ext>
            </a:extLst>
          </p:cNvPr>
          <p:cNvGraphicFramePr>
            <a:graphicFrameLocks noChangeAspect="1"/>
          </p:cNvGraphicFramePr>
          <p:nvPr>
            <p:extLst>
              <p:ext uri="{D42A27DB-BD31-4B8C-83A1-F6EECF244321}">
                <p14:modId xmlns:p14="http://schemas.microsoft.com/office/powerpoint/2010/main" val="2888077054"/>
              </p:ext>
            </p:extLst>
          </p:nvPr>
        </p:nvGraphicFramePr>
        <p:xfrm>
          <a:off x="558801" y="1068387"/>
          <a:ext cx="5124450" cy="4722813"/>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5" name="Object 4">
                        <a:extLst>
                          <a:ext uri="{FF2B5EF4-FFF2-40B4-BE49-F238E27FC236}">
                            <a16:creationId xmlns:a16="http://schemas.microsoft.com/office/drawing/2014/main" id="{531EC305-AF19-07B4-6636-BEDAEBFFA36F}"/>
                          </a:ext>
                        </a:extLst>
                      </p:cNvPr>
                      <p:cNvPicPr/>
                      <p:nvPr/>
                    </p:nvPicPr>
                    <p:blipFill>
                      <a:blip r:embed="rId4"/>
                      <a:stretch>
                        <a:fillRect/>
                      </a:stretch>
                    </p:blipFill>
                    <p:spPr>
                      <a:xfrm>
                        <a:off x="558801" y="1068387"/>
                        <a:ext cx="5124450" cy="4722813"/>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1DFD480B-F411-8D5D-814A-EDCEEB3B2755}"/>
              </a:ext>
            </a:extLst>
          </p:cNvPr>
          <p:cNvGraphicFramePr>
            <a:graphicFrameLocks noChangeAspect="1"/>
          </p:cNvGraphicFramePr>
          <p:nvPr>
            <p:extLst>
              <p:ext uri="{D42A27DB-BD31-4B8C-83A1-F6EECF244321}">
                <p14:modId xmlns:p14="http://schemas.microsoft.com/office/powerpoint/2010/main" val="661023360"/>
              </p:ext>
            </p:extLst>
          </p:nvPr>
        </p:nvGraphicFramePr>
        <p:xfrm>
          <a:off x="5959475" y="1099100"/>
          <a:ext cx="5124450" cy="4722813"/>
        </p:xfrm>
        <a:graphic>
          <a:graphicData uri="http://schemas.openxmlformats.org/presentationml/2006/ole">
            <mc:AlternateContent xmlns:mc="http://schemas.openxmlformats.org/markup-compatibility/2006">
              <mc:Choice xmlns:v="urn:schemas-microsoft-com:vml" Requires="v">
                <p:oleObj name="Macrobond document" r:id="rId5" imgW="5123742" imgH="4723318" progId="Mbnd.mbnd">
                  <p:embed/>
                </p:oleObj>
              </mc:Choice>
              <mc:Fallback>
                <p:oleObj name="Macrobond document" r:id="rId5" imgW="5123742" imgH="4723318" progId="Mbnd.mbnd">
                  <p:embed/>
                  <p:pic>
                    <p:nvPicPr>
                      <p:cNvPr id="7" name="Object 6">
                        <a:extLst>
                          <a:ext uri="{FF2B5EF4-FFF2-40B4-BE49-F238E27FC236}">
                            <a16:creationId xmlns:a16="http://schemas.microsoft.com/office/drawing/2014/main" id="{1DFD480B-F411-8D5D-814A-EDCEEB3B2755}"/>
                          </a:ext>
                        </a:extLst>
                      </p:cNvPr>
                      <p:cNvPicPr/>
                      <p:nvPr/>
                    </p:nvPicPr>
                    <p:blipFill>
                      <a:blip r:embed="rId6"/>
                      <a:stretch>
                        <a:fillRect/>
                      </a:stretch>
                    </p:blipFill>
                    <p:spPr>
                      <a:xfrm>
                        <a:off x="5959475" y="1099100"/>
                        <a:ext cx="5124450" cy="4722813"/>
                      </a:xfrm>
                      <a:prstGeom prst="rect">
                        <a:avLst/>
                      </a:prstGeom>
                    </p:spPr>
                  </p:pic>
                </p:oleObj>
              </mc:Fallback>
            </mc:AlternateContent>
          </a:graphicData>
        </a:graphic>
      </p:graphicFrame>
      <p:sp>
        <p:nvSpPr>
          <p:cNvPr id="9" name="Content Placeholder 10">
            <a:extLst>
              <a:ext uri="{FF2B5EF4-FFF2-40B4-BE49-F238E27FC236}">
                <a16:creationId xmlns:a16="http://schemas.microsoft.com/office/drawing/2014/main" id="{6A557827-4D70-5CF8-F5B9-88CAAABB2B3C}"/>
              </a:ext>
            </a:extLst>
          </p:cNvPr>
          <p:cNvSpPr txBox="1">
            <a:spLocks/>
          </p:cNvSpPr>
          <p:nvPr/>
        </p:nvSpPr>
        <p:spPr>
          <a:xfrm>
            <a:off x="751018" y="5969861"/>
            <a:ext cx="10693137" cy="657333"/>
          </a:xfrm>
          <a:prstGeom prst="rect">
            <a:avLst/>
          </a:prstGeom>
          <a:noFill/>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pPr>
              <a:buClr>
                <a:schemeClr val="tx2"/>
              </a:buClr>
            </a:pPr>
            <a:r>
              <a:rPr lang="en-AU" dirty="0"/>
              <a:t>Population growth in QLD is set to slow in line with changes in the Australian Government’s immigration program. It is set to be below WA and VIC but above NSW. Questions have been raised about VIC’s population forecasts.</a:t>
            </a:r>
          </a:p>
        </p:txBody>
      </p:sp>
      <p:sp>
        <p:nvSpPr>
          <p:cNvPr id="8" name="TextBox 7">
            <a:extLst>
              <a:ext uri="{FF2B5EF4-FFF2-40B4-BE49-F238E27FC236}">
                <a16:creationId xmlns:a16="http://schemas.microsoft.com/office/drawing/2014/main" id="{16EB87C3-50D7-FFB9-2587-6C1581134FB3}"/>
              </a:ext>
            </a:extLst>
          </p:cNvPr>
          <p:cNvSpPr txBox="1"/>
          <p:nvPr/>
        </p:nvSpPr>
        <p:spPr>
          <a:xfrm>
            <a:off x="12278302" y="1983179"/>
            <a:ext cx="2031463" cy="1477328"/>
          </a:xfrm>
          <a:prstGeom prst="rect">
            <a:avLst/>
          </a:prstGeom>
          <a:solidFill>
            <a:schemeClr val="bg1"/>
          </a:solidFill>
        </p:spPr>
        <p:txBody>
          <a:bodyPr wrap="square" rtlCol="0">
            <a:spAutoFit/>
          </a:bodyPr>
          <a:lstStyle/>
          <a:p>
            <a:r>
              <a:rPr lang="en-AU" sz="1800" dirty="0">
                <a:solidFill>
                  <a:schemeClr val="accent1">
                    <a:lumMod val="75000"/>
                  </a:schemeClr>
                </a:solidFill>
              </a:rPr>
              <a:t>What are the economic implications of slower population growth?</a:t>
            </a:r>
          </a:p>
        </p:txBody>
      </p:sp>
    </p:spTree>
    <p:extLst>
      <p:ext uri="{BB962C8B-B14F-4D97-AF65-F5344CB8AC3E}">
        <p14:creationId xmlns:p14="http://schemas.microsoft.com/office/powerpoint/2010/main" val="171928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9CFEC5-2B74-41D3-9C7E-91985FE0D196}"/>
              </a:ext>
            </a:extLst>
          </p:cNvPr>
          <p:cNvSpPr>
            <a:spLocks noGrp="1"/>
          </p:cNvSpPr>
          <p:nvPr>
            <p:ph type="title"/>
          </p:nvPr>
        </p:nvSpPr>
        <p:spPr>
          <a:xfrm>
            <a:off x="407596" y="241563"/>
            <a:ext cx="10801350" cy="576264"/>
          </a:xfrm>
        </p:spPr>
        <p:txBody>
          <a:bodyPr/>
          <a:lstStyle/>
          <a:p>
            <a:pPr algn="l"/>
            <a:r>
              <a:rPr lang="en-AU" sz="3600"/>
              <a:t>Cross-state forecasts – GSP growth</a:t>
            </a:r>
          </a:p>
        </p:txBody>
      </p:sp>
      <p:sp>
        <p:nvSpPr>
          <p:cNvPr id="3" name="Slide Number Placeholder 2">
            <a:extLst>
              <a:ext uri="{FF2B5EF4-FFF2-40B4-BE49-F238E27FC236}">
                <a16:creationId xmlns:a16="http://schemas.microsoft.com/office/drawing/2014/main" id="{5864825B-4F0C-4EC8-95F1-33C54415D3EA}"/>
              </a:ext>
            </a:extLst>
          </p:cNvPr>
          <p:cNvSpPr>
            <a:spLocks noGrp="1"/>
          </p:cNvSpPr>
          <p:nvPr>
            <p:ph type="sldNum" sz="quarter" idx="13"/>
          </p:nvPr>
        </p:nvSpPr>
        <p:spPr/>
        <p:txBody>
          <a:bodyPr/>
          <a:lstStyle/>
          <a:p>
            <a:fld id="{E917DE0E-AFB1-41FD-BC35-27DB61CA125F}" type="slidenum">
              <a:rPr lang="en-AU" smtClean="0"/>
              <a:pPr/>
              <a:t>24</a:t>
            </a:fld>
            <a:endParaRPr lang="en-AU"/>
          </a:p>
        </p:txBody>
      </p:sp>
      <p:sp>
        <p:nvSpPr>
          <p:cNvPr id="2" name="Content Placeholder 10">
            <a:extLst>
              <a:ext uri="{FF2B5EF4-FFF2-40B4-BE49-F238E27FC236}">
                <a16:creationId xmlns:a16="http://schemas.microsoft.com/office/drawing/2014/main" id="{E5D2149F-9282-9DB3-34DD-5A6C26472A8D}"/>
              </a:ext>
            </a:extLst>
          </p:cNvPr>
          <p:cNvSpPr txBox="1">
            <a:spLocks/>
          </p:cNvSpPr>
          <p:nvPr/>
        </p:nvSpPr>
        <p:spPr>
          <a:xfrm>
            <a:off x="558801" y="5975345"/>
            <a:ext cx="5400674" cy="576263"/>
          </a:xfrm>
          <a:prstGeom prst="rect">
            <a:avLst/>
          </a:prstGeom>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endParaRPr lang="en-AU"/>
          </a:p>
        </p:txBody>
      </p:sp>
      <p:sp>
        <p:nvSpPr>
          <p:cNvPr id="6" name="Content Placeholder 10">
            <a:extLst>
              <a:ext uri="{FF2B5EF4-FFF2-40B4-BE49-F238E27FC236}">
                <a16:creationId xmlns:a16="http://schemas.microsoft.com/office/drawing/2014/main" id="{513FE6C8-9AFC-04A3-7383-925B2FDE8CCF}"/>
              </a:ext>
            </a:extLst>
          </p:cNvPr>
          <p:cNvSpPr txBox="1">
            <a:spLocks/>
          </p:cNvSpPr>
          <p:nvPr/>
        </p:nvSpPr>
        <p:spPr>
          <a:xfrm>
            <a:off x="558801" y="4791237"/>
            <a:ext cx="5400674" cy="576263"/>
          </a:xfrm>
          <a:prstGeom prst="rect">
            <a:avLst/>
          </a:prstGeom>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endParaRPr lang="en-AU"/>
          </a:p>
        </p:txBody>
      </p:sp>
      <p:graphicFrame>
        <p:nvGraphicFramePr>
          <p:cNvPr id="12" name="Object 11">
            <a:extLst>
              <a:ext uri="{FF2B5EF4-FFF2-40B4-BE49-F238E27FC236}">
                <a16:creationId xmlns:a16="http://schemas.microsoft.com/office/drawing/2014/main" id="{F79DAA13-D28A-7072-871E-35A5F2F1DD76}"/>
              </a:ext>
            </a:extLst>
          </p:cNvPr>
          <p:cNvGraphicFramePr>
            <a:graphicFrameLocks noChangeAspect="1"/>
          </p:cNvGraphicFramePr>
          <p:nvPr>
            <p:extLst>
              <p:ext uri="{D42A27DB-BD31-4B8C-83A1-F6EECF244321}">
                <p14:modId xmlns:p14="http://schemas.microsoft.com/office/powerpoint/2010/main" val="2863186465"/>
              </p:ext>
            </p:extLst>
          </p:nvPr>
        </p:nvGraphicFramePr>
        <p:xfrm>
          <a:off x="6097586" y="1035179"/>
          <a:ext cx="5124450" cy="4722813"/>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12" name="Object 11">
                        <a:extLst>
                          <a:ext uri="{FF2B5EF4-FFF2-40B4-BE49-F238E27FC236}">
                            <a16:creationId xmlns:a16="http://schemas.microsoft.com/office/drawing/2014/main" id="{F79DAA13-D28A-7072-871E-35A5F2F1DD76}"/>
                          </a:ext>
                        </a:extLst>
                      </p:cNvPr>
                      <p:cNvPicPr/>
                      <p:nvPr/>
                    </p:nvPicPr>
                    <p:blipFill>
                      <a:blip r:embed="rId4"/>
                      <a:stretch>
                        <a:fillRect/>
                      </a:stretch>
                    </p:blipFill>
                    <p:spPr>
                      <a:xfrm>
                        <a:off x="6097586" y="1035179"/>
                        <a:ext cx="5124450" cy="4722813"/>
                      </a:xfrm>
                      <a:prstGeom prst="rect">
                        <a:avLst/>
                      </a:prstGeom>
                    </p:spPr>
                  </p:pic>
                </p:oleObj>
              </mc:Fallback>
            </mc:AlternateContent>
          </a:graphicData>
        </a:graphic>
      </p:graphicFrame>
      <p:graphicFrame>
        <p:nvGraphicFramePr>
          <p:cNvPr id="13" name="Object 12">
            <a:extLst>
              <a:ext uri="{FF2B5EF4-FFF2-40B4-BE49-F238E27FC236}">
                <a16:creationId xmlns:a16="http://schemas.microsoft.com/office/drawing/2014/main" id="{99F59AA8-5DD0-2308-0FBD-40C23B75EA18}"/>
              </a:ext>
            </a:extLst>
          </p:cNvPr>
          <p:cNvGraphicFramePr>
            <a:graphicFrameLocks noChangeAspect="1"/>
          </p:cNvGraphicFramePr>
          <p:nvPr>
            <p:extLst>
              <p:ext uri="{D42A27DB-BD31-4B8C-83A1-F6EECF244321}">
                <p14:modId xmlns:p14="http://schemas.microsoft.com/office/powerpoint/2010/main" val="2949085108"/>
              </p:ext>
            </p:extLst>
          </p:nvPr>
        </p:nvGraphicFramePr>
        <p:xfrm>
          <a:off x="558801" y="1035179"/>
          <a:ext cx="5124450" cy="4722813"/>
        </p:xfrm>
        <a:graphic>
          <a:graphicData uri="http://schemas.openxmlformats.org/presentationml/2006/ole">
            <mc:AlternateContent xmlns:mc="http://schemas.openxmlformats.org/markup-compatibility/2006">
              <mc:Choice xmlns:v="urn:schemas-microsoft-com:vml" Requires="v">
                <p:oleObj name="Macrobond document" r:id="rId5" imgW="5123742" imgH="4723318" progId="Mbnd.mbnd">
                  <p:embed/>
                </p:oleObj>
              </mc:Choice>
              <mc:Fallback>
                <p:oleObj name="Macrobond document" r:id="rId5" imgW="5123742" imgH="4723318" progId="Mbnd.mbnd">
                  <p:embed/>
                  <p:pic>
                    <p:nvPicPr>
                      <p:cNvPr id="13" name="Object 12">
                        <a:extLst>
                          <a:ext uri="{FF2B5EF4-FFF2-40B4-BE49-F238E27FC236}">
                            <a16:creationId xmlns:a16="http://schemas.microsoft.com/office/drawing/2014/main" id="{99F59AA8-5DD0-2308-0FBD-40C23B75EA18}"/>
                          </a:ext>
                        </a:extLst>
                      </p:cNvPr>
                      <p:cNvPicPr/>
                      <p:nvPr/>
                    </p:nvPicPr>
                    <p:blipFill>
                      <a:blip r:embed="rId6"/>
                      <a:stretch>
                        <a:fillRect/>
                      </a:stretch>
                    </p:blipFill>
                    <p:spPr>
                      <a:xfrm>
                        <a:off x="558801" y="1035179"/>
                        <a:ext cx="5124450" cy="4722813"/>
                      </a:xfrm>
                      <a:prstGeom prst="rect">
                        <a:avLst/>
                      </a:prstGeom>
                    </p:spPr>
                  </p:pic>
                </p:oleObj>
              </mc:Fallback>
            </mc:AlternateContent>
          </a:graphicData>
        </a:graphic>
      </p:graphicFrame>
      <p:sp>
        <p:nvSpPr>
          <p:cNvPr id="14" name="Content Placeholder 10">
            <a:extLst>
              <a:ext uri="{FF2B5EF4-FFF2-40B4-BE49-F238E27FC236}">
                <a16:creationId xmlns:a16="http://schemas.microsoft.com/office/drawing/2014/main" id="{33C587A4-71BC-B807-9181-F781D0372D68}"/>
              </a:ext>
            </a:extLst>
          </p:cNvPr>
          <p:cNvSpPr txBox="1">
            <a:spLocks/>
          </p:cNvSpPr>
          <p:nvPr/>
        </p:nvSpPr>
        <p:spPr>
          <a:xfrm>
            <a:off x="751018" y="5934809"/>
            <a:ext cx="10693137" cy="657333"/>
          </a:xfrm>
          <a:prstGeom prst="rect">
            <a:avLst/>
          </a:prstGeom>
          <a:noFill/>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pPr>
              <a:buClr>
                <a:schemeClr val="tx2"/>
              </a:buClr>
            </a:pPr>
            <a:r>
              <a:rPr lang="en-AU" dirty="0"/>
              <a:t>QLD real GSP growth is expected to be one of the fastest of the major states over the next few years with very little difference expected in nominal GSP growth rates (apart from WA which is set to be weaker)</a:t>
            </a:r>
          </a:p>
        </p:txBody>
      </p:sp>
      <p:sp>
        <p:nvSpPr>
          <p:cNvPr id="5" name="TextBox 4">
            <a:extLst>
              <a:ext uri="{FF2B5EF4-FFF2-40B4-BE49-F238E27FC236}">
                <a16:creationId xmlns:a16="http://schemas.microsoft.com/office/drawing/2014/main" id="{8E306B71-8723-B409-3F0A-04F425F61B14}"/>
              </a:ext>
            </a:extLst>
          </p:cNvPr>
          <p:cNvSpPr txBox="1"/>
          <p:nvPr/>
        </p:nvSpPr>
        <p:spPr>
          <a:xfrm>
            <a:off x="12278302" y="1983179"/>
            <a:ext cx="2031463" cy="3093154"/>
          </a:xfrm>
          <a:prstGeom prst="rect">
            <a:avLst/>
          </a:prstGeom>
          <a:solidFill>
            <a:schemeClr val="bg1"/>
          </a:solidFill>
        </p:spPr>
        <p:txBody>
          <a:bodyPr wrap="square" rtlCol="0">
            <a:spAutoFit/>
          </a:bodyPr>
          <a:lstStyle/>
          <a:p>
            <a:r>
              <a:rPr lang="en-AU" sz="1800" dirty="0">
                <a:solidFill>
                  <a:schemeClr val="accent1">
                    <a:lumMod val="75000"/>
                  </a:schemeClr>
                </a:solidFill>
              </a:rPr>
              <a:t>Note Queensland has a higher volatility than NSW and Vic – why?</a:t>
            </a:r>
          </a:p>
          <a:p>
            <a:r>
              <a:rPr lang="en-AU" sz="1800" dirty="0">
                <a:solidFill>
                  <a:schemeClr val="accent1">
                    <a:lumMod val="75000"/>
                  </a:schemeClr>
                </a:solidFill>
              </a:rPr>
              <a:t>Does the high nominal peak of Qld QSP mean QLD have relatively higher inflation At this point?</a:t>
            </a:r>
          </a:p>
        </p:txBody>
      </p:sp>
    </p:spTree>
    <p:extLst>
      <p:ext uri="{BB962C8B-B14F-4D97-AF65-F5344CB8AC3E}">
        <p14:creationId xmlns:p14="http://schemas.microsoft.com/office/powerpoint/2010/main" val="9128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9CFEC5-2B74-41D3-9C7E-91985FE0D196}"/>
              </a:ext>
            </a:extLst>
          </p:cNvPr>
          <p:cNvSpPr>
            <a:spLocks noGrp="1"/>
          </p:cNvSpPr>
          <p:nvPr>
            <p:ph type="title"/>
          </p:nvPr>
        </p:nvSpPr>
        <p:spPr>
          <a:xfrm>
            <a:off x="407596" y="241563"/>
            <a:ext cx="10801350" cy="576264"/>
          </a:xfrm>
        </p:spPr>
        <p:txBody>
          <a:bodyPr/>
          <a:lstStyle/>
          <a:p>
            <a:pPr algn="l"/>
            <a:r>
              <a:rPr lang="en-AU" sz="3600"/>
              <a:t>Cross-state forecasts – Labour market</a:t>
            </a:r>
          </a:p>
        </p:txBody>
      </p:sp>
      <p:sp>
        <p:nvSpPr>
          <p:cNvPr id="3" name="Slide Number Placeholder 2">
            <a:extLst>
              <a:ext uri="{FF2B5EF4-FFF2-40B4-BE49-F238E27FC236}">
                <a16:creationId xmlns:a16="http://schemas.microsoft.com/office/drawing/2014/main" id="{5864825B-4F0C-4EC8-95F1-33C54415D3EA}"/>
              </a:ext>
            </a:extLst>
          </p:cNvPr>
          <p:cNvSpPr>
            <a:spLocks noGrp="1"/>
          </p:cNvSpPr>
          <p:nvPr>
            <p:ph type="sldNum" sz="quarter" idx="13"/>
          </p:nvPr>
        </p:nvSpPr>
        <p:spPr/>
        <p:txBody>
          <a:bodyPr/>
          <a:lstStyle/>
          <a:p>
            <a:fld id="{E917DE0E-AFB1-41FD-BC35-27DB61CA125F}" type="slidenum">
              <a:rPr lang="en-AU" smtClean="0"/>
              <a:pPr/>
              <a:t>25</a:t>
            </a:fld>
            <a:endParaRPr lang="en-AU"/>
          </a:p>
        </p:txBody>
      </p:sp>
      <p:sp>
        <p:nvSpPr>
          <p:cNvPr id="2" name="Content Placeholder 10">
            <a:extLst>
              <a:ext uri="{FF2B5EF4-FFF2-40B4-BE49-F238E27FC236}">
                <a16:creationId xmlns:a16="http://schemas.microsoft.com/office/drawing/2014/main" id="{E5D2149F-9282-9DB3-34DD-5A6C26472A8D}"/>
              </a:ext>
            </a:extLst>
          </p:cNvPr>
          <p:cNvSpPr txBox="1">
            <a:spLocks/>
          </p:cNvSpPr>
          <p:nvPr/>
        </p:nvSpPr>
        <p:spPr>
          <a:xfrm>
            <a:off x="558801" y="5975345"/>
            <a:ext cx="5400674" cy="576263"/>
          </a:xfrm>
          <a:prstGeom prst="rect">
            <a:avLst/>
          </a:prstGeom>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endParaRPr lang="en-AU"/>
          </a:p>
        </p:txBody>
      </p:sp>
      <p:sp>
        <p:nvSpPr>
          <p:cNvPr id="6" name="Content Placeholder 10">
            <a:extLst>
              <a:ext uri="{FF2B5EF4-FFF2-40B4-BE49-F238E27FC236}">
                <a16:creationId xmlns:a16="http://schemas.microsoft.com/office/drawing/2014/main" id="{513FE6C8-9AFC-04A3-7383-925B2FDE8CCF}"/>
              </a:ext>
            </a:extLst>
          </p:cNvPr>
          <p:cNvSpPr txBox="1">
            <a:spLocks/>
          </p:cNvSpPr>
          <p:nvPr/>
        </p:nvSpPr>
        <p:spPr>
          <a:xfrm>
            <a:off x="558801" y="4791237"/>
            <a:ext cx="5400674" cy="576263"/>
          </a:xfrm>
          <a:prstGeom prst="rect">
            <a:avLst/>
          </a:prstGeom>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endParaRPr lang="en-AU"/>
          </a:p>
        </p:txBody>
      </p:sp>
      <p:graphicFrame>
        <p:nvGraphicFramePr>
          <p:cNvPr id="8" name="Object 7">
            <a:extLst>
              <a:ext uri="{FF2B5EF4-FFF2-40B4-BE49-F238E27FC236}">
                <a16:creationId xmlns:a16="http://schemas.microsoft.com/office/drawing/2014/main" id="{C7C64AE9-9DDD-37EA-96C9-CF5E4DE53A56}"/>
              </a:ext>
            </a:extLst>
          </p:cNvPr>
          <p:cNvGraphicFramePr>
            <a:graphicFrameLocks noChangeAspect="1"/>
          </p:cNvGraphicFramePr>
          <p:nvPr>
            <p:extLst>
              <p:ext uri="{D42A27DB-BD31-4B8C-83A1-F6EECF244321}">
                <p14:modId xmlns:p14="http://schemas.microsoft.com/office/powerpoint/2010/main" val="1456026529"/>
              </p:ext>
            </p:extLst>
          </p:nvPr>
        </p:nvGraphicFramePr>
        <p:xfrm>
          <a:off x="6097586" y="1032436"/>
          <a:ext cx="5124450" cy="4722813"/>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8" name="Object 7">
                        <a:extLst>
                          <a:ext uri="{FF2B5EF4-FFF2-40B4-BE49-F238E27FC236}">
                            <a16:creationId xmlns:a16="http://schemas.microsoft.com/office/drawing/2014/main" id="{C7C64AE9-9DDD-37EA-96C9-CF5E4DE53A56}"/>
                          </a:ext>
                        </a:extLst>
                      </p:cNvPr>
                      <p:cNvPicPr/>
                      <p:nvPr/>
                    </p:nvPicPr>
                    <p:blipFill>
                      <a:blip r:embed="rId4"/>
                      <a:stretch>
                        <a:fillRect/>
                      </a:stretch>
                    </p:blipFill>
                    <p:spPr>
                      <a:xfrm>
                        <a:off x="6097586" y="1032436"/>
                        <a:ext cx="5124450" cy="4722813"/>
                      </a:xfrm>
                      <a:prstGeom prst="rect">
                        <a:avLst/>
                      </a:prstGeom>
                    </p:spPr>
                  </p:pic>
                </p:oleObj>
              </mc:Fallback>
            </mc:AlternateContent>
          </a:graphicData>
        </a:graphic>
      </p:graphicFrame>
      <p:graphicFrame>
        <p:nvGraphicFramePr>
          <p:cNvPr id="11" name="Object 10">
            <a:extLst>
              <a:ext uri="{FF2B5EF4-FFF2-40B4-BE49-F238E27FC236}">
                <a16:creationId xmlns:a16="http://schemas.microsoft.com/office/drawing/2014/main" id="{E04B2B40-57C3-0706-D21F-A13672CA1C29}"/>
              </a:ext>
            </a:extLst>
          </p:cNvPr>
          <p:cNvGraphicFramePr>
            <a:graphicFrameLocks noChangeAspect="1"/>
          </p:cNvGraphicFramePr>
          <p:nvPr>
            <p:extLst>
              <p:ext uri="{D42A27DB-BD31-4B8C-83A1-F6EECF244321}">
                <p14:modId xmlns:p14="http://schemas.microsoft.com/office/powerpoint/2010/main" val="576729804"/>
              </p:ext>
            </p:extLst>
          </p:nvPr>
        </p:nvGraphicFramePr>
        <p:xfrm>
          <a:off x="696913" y="1032437"/>
          <a:ext cx="5124450" cy="4722813"/>
        </p:xfrm>
        <a:graphic>
          <a:graphicData uri="http://schemas.openxmlformats.org/presentationml/2006/ole">
            <mc:AlternateContent xmlns:mc="http://schemas.openxmlformats.org/markup-compatibility/2006">
              <mc:Choice xmlns:v="urn:schemas-microsoft-com:vml" Requires="v">
                <p:oleObj name="Macrobond document" r:id="rId5" imgW="5123742" imgH="4723318" progId="Mbnd.mbnd">
                  <p:embed/>
                </p:oleObj>
              </mc:Choice>
              <mc:Fallback>
                <p:oleObj name="Macrobond document" r:id="rId5" imgW="5123742" imgH="4723318" progId="Mbnd.mbnd">
                  <p:embed/>
                  <p:pic>
                    <p:nvPicPr>
                      <p:cNvPr id="11" name="Object 10">
                        <a:extLst>
                          <a:ext uri="{FF2B5EF4-FFF2-40B4-BE49-F238E27FC236}">
                            <a16:creationId xmlns:a16="http://schemas.microsoft.com/office/drawing/2014/main" id="{E04B2B40-57C3-0706-D21F-A13672CA1C29}"/>
                          </a:ext>
                        </a:extLst>
                      </p:cNvPr>
                      <p:cNvPicPr/>
                      <p:nvPr/>
                    </p:nvPicPr>
                    <p:blipFill>
                      <a:blip r:embed="rId6"/>
                      <a:stretch>
                        <a:fillRect/>
                      </a:stretch>
                    </p:blipFill>
                    <p:spPr>
                      <a:xfrm>
                        <a:off x="696913" y="1032437"/>
                        <a:ext cx="5124450" cy="4722813"/>
                      </a:xfrm>
                      <a:prstGeom prst="rect">
                        <a:avLst/>
                      </a:prstGeom>
                    </p:spPr>
                  </p:pic>
                </p:oleObj>
              </mc:Fallback>
            </mc:AlternateContent>
          </a:graphicData>
        </a:graphic>
      </p:graphicFrame>
      <p:sp>
        <p:nvSpPr>
          <p:cNvPr id="5" name="Content Placeholder 10">
            <a:extLst>
              <a:ext uri="{FF2B5EF4-FFF2-40B4-BE49-F238E27FC236}">
                <a16:creationId xmlns:a16="http://schemas.microsoft.com/office/drawing/2014/main" id="{EDBBAAF0-6C06-DCEA-F55E-99A33C0AA489}"/>
              </a:ext>
            </a:extLst>
          </p:cNvPr>
          <p:cNvSpPr txBox="1">
            <a:spLocks/>
          </p:cNvSpPr>
          <p:nvPr/>
        </p:nvSpPr>
        <p:spPr>
          <a:xfrm>
            <a:off x="751018" y="5969861"/>
            <a:ext cx="10693137" cy="657333"/>
          </a:xfrm>
          <a:prstGeom prst="rect">
            <a:avLst/>
          </a:prstGeom>
          <a:noFill/>
        </p:spPr>
        <p:txBody>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pPr>
              <a:buClr>
                <a:schemeClr val="tx2"/>
              </a:buClr>
            </a:pPr>
            <a:r>
              <a:rPr lang="en-AU" dirty="0"/>
              <a:t>The labour market is set to be slightly softer in QLD than in major states over the next few years based on the outlook for employment growth and the unemployment rate</a:t>
            </a:r>
          </a:p>
        </p:txBody>
      </p:sp>
    </p:spTree>
    <p:extLst>
      <p:ext uri="{BB962C8B-B14F-4D97-AF65-F5344CB8AC3E}">
        <p14:creationId xmlns:p14="http://schemas.microsoft.com/office/powerpoint/2010/main" val="73554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1E60F-33D1-96B3-E297-BB11BDCF6969}"/>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A3652372-7DD5-B017-2A78-BB0789329DC5}"/>
              </a:ext>
            </a:extLst>
          </p:cNvPr>
          <p:cNvSpPr>
            <a:spLocks noGrp="1"/>
          </p:cNvSpPr>
          <p:nvPr>
            <p:ph type="body" idx="18"/>
          </p:nvPr>
        </p:nvSpPr>
        <p:spPr>
          <a:xfrm>
            <a:off x="634206" y="2757237"/>
            <a:ext cx="10926762" cy="1345114"/>
          </a:xfrm>
        </p:spPr>
        <p:txBody>
          <a:bodyPr/>
          <a:lstStyle/>
          <a:p>
            <a:r>
              <a:rPr lang="en-AU" dirty="0"/>
              <a:t>Case study – Infrastructure construction</a:t>
            </a:r>
          </a:p>
        </p:txBody>
      </p:sp>
      <p:sp>
        <p:nvSpPr>
          <p:cNvPr id="6" name="Slide Number Placeholder 5">
            <a:extLst>
              <a:ext uri="{FF2B5EF4-FFF2-40B4-BE49-F238E27FC236}">
                <a16:creationId xmlns:a16="http://schemas.microsoft.com/office/drawing/2014/main" id="{34312E9A-AF97-5545-4E07-4BFBC8625E65}"/>
              </a:ext>
            </a:extLst>
          </p:cNvPr>
          <p:cNvSpPr>
            <a:spLocks noGrp="1"/>
          </p:cNvSpPr>
          <p:nvPr>
            <p:ph type="sldNum" sz="quarter" idx="20"/>
          </p:nvPr>
        </p:nvSpPr>
        <p:spPr/>
        <p:txBody>
          <a:bodyPr/>
          <a:lstStyle/>
          <a:p>
            <a:fld id="{E917DE0E-AFB1-41FD-BC35-27DB61CA125F}" type="slidenum">
              <a:rPr lang="en-AU" smtClean="0"/>
              <a:pPr/>
              <a:t>26</a:t>
            </a:fld>
            <a:endParaRPr lang="en-AU"/>
          </a:p>
        </p:txBody>
      </p:sp>
    </p:spTree>
    <p:extLst>
      <p:ext uri="{BB962C8B-B14F-4D97-AF65-F5344CB8AC3E}">
        <p14:creationId xmlns:p14="http://schemas.microsoft.com/office/powerpoint/2010/main" val="278940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96C982-3A81-D8E7-E42C-1CDB0B046B3A}"/>
              </a:ext>
            </a:extLst>
          </p:cNvPr>
          <p:cNvSpPr>
            <a:spLocks noGrp="1"/>
          </p:cNvSpPr>
          <p:nvPr>
            <p:ph type="title"/>
          </p:nvPr>
        </p:nvSpPr>
        <p:spPr>
          <a:xfrm>
            <a:off x="696912" y="117426"/>
            <a:ext cx="10801350" cy="576264"/>
          </a:xfrm>
        </p:spPr>
        <p:txBody>
          <a:bodyPr/>
          <a:lstStyle/>
          <a:p>
            <a:r>
              <a:rPr lang="en-AU" dirty="0"/>
              <a:t>Construction activity and costs</a:t>
            </a:r>
          </a:p>
        </p:txBody>
      </p:sp>
      <p:sp>
        <p:nvSpPr>
          <p:cNvPr id="17" name="Slide Number Placeholder 16">
            <a:extLst>
              <a:ext uri="{FF2B5EF4-FFF2-40B4-BE49-F238E27FC236}">
                <a16:creationId xmlns:a16="http://schemas.microsoft.com/office/drawing/2014/main" id="{A22BE479-268D-2AE7-D21B-7087D6ECFF17}"/>
              </a:ext>
            </a:extLst>
          </p:cNvPr>
          <p:cNvSpPr>
            <a:spLocks noGrp="1"/>
          </p:cNvSpPr>
          <p:nvPr>
            <p:ph type="sldNum" sz="quarter" idx="16"/>
          </p:nvPr>
        </p:nvSpPr>
        <p:spPr/>
        <p:txBody>
          <a:bodyPr/>
          <a:lstStyle/>
          <a:p>
            <a:fld id="{E917DE0E-AFB1-41FD-BC35-27DB61CA125F}" type="slidenum">
              <a:rPr lang="en-AU" smtClean="0"/>
              <a:pPr/>
              <a:t>27</a:t>
            </a:fld>
            <a:endParaRPr lang="en-AU"/>
          </a:p>
        </p:txBody>
      </p:sp>
      <p:sp>
        <p:nvSpPr>
          <p:cNvPr id="21" name="Content Placeholder 10">
            <a:extLst>
              <a:ext uri="{FF2B5EF4-FFF2-40B4-BE49-F238E27FC236}">
                <a16:creationId xmlns:a16="http://schemas.microsoft.com/office/drawing/2014/main" id="{3FA99601-4A9B-4ED9-96FD-9BBC49C2895A}"/>
              </a:ext>
            </a:extLst>
          </p:cNvPr>
          <p:cNvSpPr>
            <a:spLocks noGrp="1"/>
          </p:cNvSpPr>
          <p:nvPr>
            <p:ph sz="quarter" idx="15"/>
          </p:nvPr>
        </p:nvSpPr>
        <p:spPr>
          <a:xfrm>
            <a:off x="985019" y="6153557"/>
            <a:ext cx="5112568" cy="448799"/>
          </a:xfrm>
        </p:spPr>
        <p:txBody>
          <a:bodyPr/>
          <a:lstStyle/>
          <a:p>
            <a:r>
              <a:rPr lang="en-AU" dirty="0"/>
              <a:t>There is a reasonable amount of work being done on infrastructure projects in QLD…</a:t>
            </a:r>
          </a:p>
        </p:txBody>
      </p:sp>
      <p:sp>
        <p:nvSpPr>
          <p:cNvPr id="8" name="Content Placeholder 10">
            <a:extLst>
              <a:ext uri="{FF2B5EF4-FFF2-40B4-BE49-F238E27FC236}">
                <a16:creationId xmlns:a16="http://schemas.microsoft.com/office/drawing/2014/main" id="{20515EE2-C92F-89C6-6B9C-E7EC4212B4EA}"/>
              </a:ext>
            </a:extLst>
          </p:cNvPr>
          <p:cNvSpPr txBox="1">
            <a:spLocks/>
          </p:cNvSpPr>
          <p:nvPr/>
        </p:nvSpPr>
        <p:spPr>
          <a:xfrm>
            <a:off x="7177707" y="6165339"/>
            <a:ext cx="4637027" cy="43701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dirty="0"/>
              <a:t>…and thankfully growth in the cost of delivering these is slowing</a:t>
            </a:r>
          </a:p>
        </p:txBody>
      </p:sp>
      <p:graphicFrame>
        <p:nvGraphicFramePr>
          <p:cNvPr id="5" name="Object 4">
            <a:extLst>
              <a:ext uri="{FF2B5EF4-FFF2-40B4-BE49-F238E27FC236}">
                <a16:creationId xmlns:a16="http://schemas.microsoft.com/office/drawing/2014/main" id="{376DB24F-37B0-4241-F80F-FCF95313E18B}"/>
              </a:ext>
            </a:extLst>
          </p:cNvPr>
          <p:cNvGraphicFramePr>
            <a:graphicFrameLocks noChangeAspect="1"/>
          </p:cNvGraphicFramePr>
          <p:nvPr>
            <p:extLst>
              <p:ext uri="{D42A27DB-BD31-4B8C-83A1-F6EECF244321}">
                <p14:modId xmlns:p14="http://schemas.microsoft.com/office/powerpoint/2010/main" val="3973713072"/>
              </p:ext>
            </p:extLst>
          </p:nvPr>
        </p:nvGraphicFramePr>
        <p:xfrm>
          <a:off x="6551613" y="1068388"/>
          <a:ext cx="5124450" cy="4722812"/>
        </p:xfrm>
        <a:graphic>
          <a:graphicData uri="http://schemas.openxmlformats.org/presentationml/2006/ole">
            <mc:AlternateContent xmlns:mc="http://schemas.openxmlformats.org/markup-compatibility/2006">
              <mc:Choice xmlns:v="urn:schemas-microsoft-com:vml" Requires="v">
                <p:oleObj name="Macrobond document" r:id="rId2" imgW="5123742" imgH="4723318" progId="Mbnd.mbnd">
                  <p:embed/>
                </p:oleObj>
              </mc:Choice>
              <mc:Fallback>
                <p:oleObj name="Macrobond document" r:id="rId2" imgW="5123742" imgH="4723318" progId="Mbnd.mbnd">
                  <p:embed/>
                  <p:pic>
                    <p:nvPicPr>
                      <p:cNvPr id="5" name="Object 4">
                        <a:extLst>
                          <a:ext uri="{FF2B5EF4-FFF2-40B4-BE49-F238E27FC236}">
                            <a16:creationId xmlns:a16="http://schemas.microsoft.com/office/drawing/2014/main" id="{376DB24F-37B0-4241-F80F-FCF95313E18B}"/>
                          </a:ext>
                        </a:extLst>
                      </p:cNvPr>
                      <p:cNvPicPr/>
                      <p:nvPr/>
                    </p:nvPicPr>
                    <p:blipFill>
                      <a:blip r:embed="rId3"/>
                      <a:stretch>
                        <a:fillRect/>
                      </a:stretch>
                    </p:blipFill>
                    <p:spPr>
                      <a:xfrm>
                        <a:off x="6551613" y="1068388"/>
                        <a:ext cx="5124450" cy="4722812"/>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EE8CE3CF-8FC5-75DD-EA11-5195F733DEC7}"/>
              </a:ext>
            </a:extLst>
          </p:cNvPr>
          <p:cNvGraphicFramePr>
            <a:graphicFrameLocks noChangeAspect="1"/>
          </p:cNvGraphicFramePr>
          <p:nvPr>
            <p:extLst>
              <p:ext uri="{D42A27DB-BD31-4B8C-83A1-F6EECF244321}">
                <p14:modId xmlns:p14="http://schemas.microsoft.com/office/powerpoint/2010/main" val="2568823417"/>
              </p:ext>
            </p:extLst>
          </p:nvPr>
        </p:nvGraphicFramePr>
        <p:xfrm>
          <a:off x="518970" y="1068108"/>
          <a:ext cx="5124450" cy="4722813"/>
        </p:xfrm>
        <a:graphic>
          <a:graphicData uri="http://schemas.openxmlformats.org/presentationml/2006/ole">
            <mc:AlternateContent xmlns:mc="http://schemas.openxmlformats.org/markup-compatibility/2006">
              <mc:Choice xmlns:v="urn:schemas-microsoft-com:vml" Requires="v">
                <p:oleObj name="Macrobond document" r:id="rId4" imgW="5123742" imgH="4723318" progId="Mbnd.mbnd">
                  <p:embed/>
                </p:oleObj>
              </mc:Choice>
              <mc:Fallback>
                <p:oleObj name="Macrobond document" r:id="rId4" imgW="5123742" imgH="4723318" progId="Mbnd.mbnd">
                  <p:embed/>
                  <p:pic>
                    <p:nvPicPr>
                      <p:cNvPr id="0" name=""/>
                      <p:cNvPicPr/>
                      <p:nvPr/>
                    </p:nvPicPr>
                    <p:blipFill>
                      <a:blip r:embed="rId5"/>
                      <a:stretch>
                        <a:fillRect/>
                      </a:stretch>
                    </p:blipFill>
                    <p:spPr>
                      <a:xfrm>
                        <a:off x="518970" y="1068108"/>
                        <a:ext cx="5124450" cy="4722813"/>
                      </a:xfrm>
                      <a:prstGeom prst="rect">
                        <a:avLst/>
                      </a:prstGeom>
                    </p:spPr>
                  </p:pic>
                </p:oleObj>
              </mc:Fallback>
            </mc:AlternateContent>
          </a:graphicData>
        </a:graphic>
      </p:graphicFrame>
    </p:spTree>
    <p:extLst>
      <p:ext uri="{BB962C8B-B14F-4D97-AF65-F5344CB8AC3E}">
        <p14:creationId xmlns:p14="http://schemas.microsoft.com/office/powerpoint/2010/main" val="69317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9EF6519-3B58-DB25-D07B-22670FE135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49EF6519-3B58-DB25-D07B-22670FE135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B96C982-3A81-D8E7-E42C-1CDB0B046B3A}"/>
              </a:ext>
            </a:extLst>
          </p:cNvPr>
          <p:cNvSpPr>
            <a:spLocks noGrp="1"/>
          </p:cNvSpPr>
          <p:nvPr>
            <p:ph type="title"/>
          </p:nvPr>
        </p:nvSpPr>
        <p:spPr>
          <a:xfrm>
            <a:off x="696912" y="112704"/>
            <a:ext cx="10801350" cy="576264"/>
          </a:xfrm>
        </p:spPr>
        <p:txBody>
          <a:bodyPr vert="horz"/>
          <a:lstStyle/>
          <a:p>
            <a:pPr>
              <a:lnSpc>
                <a:spcPct val="100000"/>
              </a:lnSpc>
            </a:pPr>
            <a:r>
              <a:rPr lang="en-AU" sz="2800" dirty="0"/>
              <a:t>Construction labour and materials</a:t>
            </a:r>
            <a:endParaRPr lang="en-AU" altLang="en-US" sz="2800" dirty="0"/>
          </a:p>
        </p:txBody>
      </p:sp>
      <p:sp>
        <p:nvSpPr>
          <p:cNvPr id="17" name="Slide Number Placeholder 16">
            <a:extLst>
              <a:ext uri="{FF2B5EF4-FFF2-40B4-BE49-F238E27FC236}">
                <a16:creationId xmlns:a16="http://schemas.microsoft.com/office/drawing/2014/main" id="{A22BE479-268D-2AE7-D21B-7087D6ECFF17}"/>
              </a:ext>
            </a:extLst>
          </p:cNvPr>
          <p:cNvSpPr>
            <a:spLocks noGrp="1"/>
          </p:cNvSpPr>
          <p:nvPr>
            <p:ph type="sldNum" sz="quarter" idx="16"/>
          </p:nvPr>
        </p:nvSpPr>
        <p:spPr/>
        <p:txBody>
          <a:bodyPr/>
          <a:lstStyle/>
          <a:p>
            <a:fld id="{E917DE0E-AFB1-41FD-BC35-27DB61CA125F}" type="slidenum">
              <a:rPr lang="en-AU" smtClean="0"/>
              <a:pPr/>
              <a:t>28</a:t>
            </a:fld>
            <a:endParaRPr lang="en-AU"/>
          </a:p>
        </p:txBody>
      </p:sp>
      <p:sp>
        <p:nvSpPr>
          <p:cNvPr id="7" name="Content Placeholder 2">
            <a:extLst>
              <a:ext uri="{FF2B5EF4-FFF2-40B4-BE49-F238E27FC236}">
                <a16:creationId xmlns:a16="http://schemas.microsoft.com/office/drawing/2014/main" id="{7F9F3004-CA23-C8DA-273E-F7ACB544EE76}"/>
              </a:ext>
            </a:extLst>
          </p:cNvPr>
          <p:cNvSpPr txBox="1">
            <a:spLocks/>
          </p:cNvSpPr>
          <p:nvPr/>
        </p:nvSpPr>
        <p:spPr bwMode="auto">
          <a:xfrm>
            <a:off x="879959" y="6033676"/>
            <a:ext cx="5507737" cy="27699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pPr>
              <a:spcBef>
                <a:spcPts val="0"/>
              </a:spcBef>
              <a:buClr>
                <a:schemeClr val="accent1"/>
              </a:buClr>
            </a:pPr>
            <a:r>
              <a:rPr lang="en-AU" dirty="0"/>
              <a:t>Proxies for conditions in global markets for materials have normalised…</a:t>
            </a:r>
            <a:endParaRPr lang="en-AU" altLang="en-US" dirty="0"/>
          </a:p>
        </p:txBody>
      </p:sp>
      <p:graphicFrame>
        <p:nvGraphicFramePr>
          <p:cNvPr id="9" name="Object 8">
            <a:extLst>
              <a:ext uri="{FF2B5EF4-FFF2-40B4-BE49-F238E27FC236}">
                <a16:creationId xmlns:a16="http://schemas.microsoft.com/office/drawing/2014/main" id="{69650390-BE49-C196-35B2-E4EC129F83B3}"/>
              </a:ext>
            </a:extLst>
          </p:cNvPr>
          <p:cNvGraphicFramePr>
            <a:graphicFrameLocks noChangeAspect="1"/>
          </p:cNvGraphicFramePr>
          <p:nvPr>
            <p:extLst>
              <p:ext uri="{D42A27DB-BD31-4B8C-83A1-F6EECF244321}">
                <p14:modId xmlns:p14="http://schemas.microsoft.com/office/powerpoint/2010/main" val="3265861973"/>
              </p:ext>
            </p:extLst>
          </p:nvPr>
        </p:nvGraphicFramePr>
        <p:xfrm>
          <a:off x="772287" y="1122442"/>
          <a:ext cx="5124450" cy="4722813"/>
        </p:xfrm>
        <a:graphic>
          <a:graphicData uri="http://schemas.openxmlformats.org/presentationml/2006/ole">
            <mc:AlternateContent xmlns:mc="http://schemas.openxmlformats.org/markup-compatibility/2006">
              <mc:Choice xmlns:v="urn:schemas-microsoft-com:vml" Requires="v">
                <p:oleObj name="Macrobond document" r:id="rId6" imgW="5123742" imgH="4723318" progId="Mbnd.mbnd">
                  <p:embed/>
                </p:oleObj>
              </mc:Choice>
              <mc:Fallback>
                <p:oleObj name="Macrobond document" r:id="rId6" imgW="5123742" imgH="4723318" progId="Mbnd.mbnd">
                  <p:embed/>
                  <p:pic>
                    <p:nvPicPr>
                      <p:cNvPr id="0" name=""/>
                      <p:cNvPicPr/>
                      <p:nvPr/>
                    </p:nvPicPr>
                    <p:blipFill>
                      <a:blip r:embed="rId7"/>
                      <a:stretch>
                        <a:fillRect/>
                      </a:stretch>
                    </p:blipFill>
                    <p:spPr>
                      <a:xfrm>
                        <a:off x="772287" y="1122442"/>
                        <a:ext cx="5124450" cy="4722813"/>
                      </a:xfrm>
                      <a:prstGeom prst="rect">
                        <a:avLst/>
                      </a:prstGeom>
                    </p:spPr>
                  </p:pic>
                </p:oleObj>
              </mc:Fallback>
            </mc:AlternateContent>
          </a:graphicData>
        </a:graphic>
      </p:graphicFrame>
      <p:sp>
        <p:nvSpPr>
          <p:cNvPr id="10" name="Content Placeholder 10">
            <a:extLst>
              <a:ext uri="{FF2B5EF4-FFF2-40B4-BE49-F238E27FC236}">
                <a16:creationId xmlns:a16="http://schemas.microsoft.com/office/drawing/2014/main" id="{02D4E60A-372F-9348-9F98-A4F5D6B112E8}"/>
              </a:ext>
            </a:extLst>
          </p:cNvPr>
          <p:cNvSpPr txBox="1">
            <a:spLocks/>
          </p:cNvSpPr>
          <p:nvPr/>
        </p:nvSpPr>
        <p:spPr>
          <a:xfrm>
            <a:off x="7013648" y="6092166"/>
            <a:ext cx="4637027" cy="43701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dirty="0"/>
              <a:t>…while in markets for construction labour in QLD, this is likely some years away</a:t>
            </a:r>
          </a:p>
        </p:txBody>
      </p:sp>
      <p:sp>
        <p:nvSpPr>
          <p:cNvPr id="12" name="TextBox 11">
            <a:extLst>
              <a:ext uri="{FF2B5EF4-FFF2-40B4-BE49-F238E27FC236}">
                <a16:creationId xmlns:a16="http://schemas.microsoft.com/office/drawing/2014/main" id="{83AE16AA-6C65-0056-CD12-2D58C72605C5}"/>
              </a:ext>
            </a:extLst>
          </p:cNvPr>
          <p:cNvSpPr txBox="1"/>
          <p:nvPr/>
        </p:nvSpPr>
        <p:spPr>
          <a:xfrm>
            <a:off x="6387696" y="1122442"/>
            <a:ext cx="5440327" cy="276999"/>
          </a:xfrm>
          <a:prstGeom prst="rect">
            <a:avLst/>
          </a:prstGeom>
          <a:noFill/>
        </p:spPr>
        <p:txBody>
          <a:bodyPr wrap="square" rtlCol="0">
            <a:spAutoFit/>
          </a:bodyPr>
          <a:lstStyle/>
          <a:p>
            <a:r>
              <a:rPr lang="en-AU" sz="1200" b="1" dirty="0"/>
              <a:t>Supply-demand balance – Construction labour on major public infrastructure projects</a:t>
            </a:r>
          </a:p>
        </p:txBody>
      </p:sp>
      <p:sp>
        <p:nvSpPr>
          <p:cNvPr id="13" name="TextBox 12">
            <a:extLst>
              <a:ext uri="{FF2B5EF4-FFF2-40B4-BE49-F238E27FC236}">
                <a16:creationId xmlns:a16="http://schemas.microsoft.com/office/drawing/2014/main" id="{103422A0-3BA8-67B8-FCE9-2DEC773AD343}"/>
              </a:ext>
            </a:extLst>
          </p:cNvPr>
          <p:cNvSpPr txBox="1"/>
          <p:nvPr/>
        </p:nvSpPr>
        <p:spPr>
          <a:xfrm>
            <a:off x="6387696" y="5565388"/>
            <a:ext cx="4782645" cy="215444"/>
          </a:xfrm>
          <a:prstGeom prst="rect">
            <a:avLst/>
          </a:prstGeom>
          <a:noFill/>
        </p:spPr>
        <p:txBody>
          <a:bodyPr wrap="square" rtlCol="0">
            <a:spAutoFit/>
          </a:bodyPr>
          <a:lstStyle/>
          <a:p>
            <a:r>
              <a:rPr lang="en-AU" sz="800" dirty="0"/>
              <a:t>Source: Public Infrastructure Workforce Supply Dashboard, Infrastructure Australia</a:t>
            </a:r>
          </a:p>
        </p:txBody>
      </p:sp>
      <p:pic>
        <p:nvPicPr>
          <p:cNvPr id="4" name="Picture 3">
            <a:extLst>
              <a:ext uri="{FF2B5EF4-FFF2-40B4-BE49-F238E27FC236}">
                <a16:creationId xmlns:a16="http://schemas.microsoft.com/office/drawing/2014/main" id="{3B74AC9D-58B6-BC1D-0712-3600A7238E18}"/>
              </a:ext>
            </a:extLst>
          </p:cNvPr>
          <p:cNvPicPr>
            <a:picLocks noChangeAspect="1"/>
          </p:cNvPicPr>
          <p:nvPr/>
        </p:nvPicPr>
        <p:blipFill>
          <a:blip r:embed="rId8"/>
          <a:stretch>
            <a:fillRect/>
          </a:stretch>
        </p:blipFill>
        <p:spPr>
          <a:xfrm>
            <a:off x="6684232" y="1455770"/>
            <a:ext cx="4738656" cy="3181794"/>
          </a:xfrm>
          <a:prstGeom prst="rect">
            <a:avLst/>
          </a:prstGeom>
        </p:spPr>
      </p:pic>
      <p:pic>
        <p:nvPicPr>
          <p:cNvPr id="14" name="Picture 13">
            <a:extLst>
              <a:ext uri="{FF2B5EF4-FFF2-40B4-BE49-F238E27FC236}">
                <a16:creationId xmlns:a16="http://schemas.microsoft.com/office/drawing/2014/main" id="{4CAD2856-7C00-35E5-A6E3-3BDBE5D4309E}"/>
              </a:ext>
            </a:extLst>
          </p:cNvPr>
          <p:cNvPicPr>
            <a:picLocks noChangeAspect="1"/>
          </p:cNvPicPr>
          <p:nvPr/>
        </p:nvPicPr>
        <p:blipFill>
          <a:blip r:embed="rId9"/>
          <a:stretch>
            <a:fillRect/>
          </a:stretch>
        </p:blipFill>
        <p:spPr>
          <a:xfrm>
            <a:off x="7013648" y="4688094"/>
            <a:ext cx="4515480" cy="209579"/>
          </a:xfrm>
          <a:prstGeom prst="rect">
            <a:avLst/>
          </a:prstGeom>
        </p:spPr>
      </p:pic>
    </p:spTree>
    <p:extLst>
      <p:ext uri="{BB962C8B-B14F-4D97-AF65-F5344CB8AC3E}">
        <p14:creationId xmlns:p14="http://schemas.microsoft.com/office/powerpoint/2010/main" val="117541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92126-C7B8-B7B0-DC1E-FCBD02C17C1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F26F842-706C-0C03-8C67-8B9057E31E63}"/>
              </a:ext>
            </a:extLst>
          </p:cNvPr>
          <p:cNvSpPr>
            <a:spLocks noGrp="1"/>
          </p:cNvSpPr>
          <p:nvPr>
            <p:ph type="title"/>
          </p:nvPr>
        </p:nvSpPr>
        <p:spPr>
          <a:xfrm>
            <a:off x="696912" y="117426"/>
            <a:ext cx="10801350" cy="576264"/>
          </a:xfrm>
        </p:spPr>
        <p:txBody>
          <a:bodyPr/>
          <a:lstStyle/>
          <a:p>
            <a:r>
              <a:rPr lang="en-AU" dirty="0"/>
              <a:t>Construction activity and costs</a:t>
            </a:r>
          </a:p>
        </p:txBody>
      </p:sp>
      <p:sp>
        <p:nvSpPr>
          <p:cNvPr id="17" name="Slide Number Placeholder 16">
            <a:extLst>
              <a:ext uri="{FF2B5EF4-FFF2-40B4-BE49-F238E27FC236}">
                <a16:creationId xmlns:a16="http://schemas.microsoft.com/office/drawing/2014/main" id="{DF0C2ECE-679E-9844-D752-C14D1BBE28C2}"/>
              </a:ext>
            </a:extLst>
          </p:cNvPr>
          <p:cNvSpPr>
            <a:spLocks noGrp="1"/>
          </p:cNvSpPr>
          <p:nvPr>
            <p:ph type="sldNum" sz="quarter" idx="16"/>
          </p:nvPr>
        </p:nvSpPr>
        <p:spPr/>
        <p:txBody>
          <a:bodyPr/>
          <a:lstStyle/>
          <a:p>
            <a:fld id="{E917DE0E-AFB1-41FD-BC35-27DB61CA125F}" type="slidenum">
              <a:rPr lang="en-AU" smtClean="0"/>
              <a:pPr/>
              <a:t>29</a:t>
            </a:fld>
            <a:endParaRPr lang="en-AU"/>
          </a:p>
        </p:txBody>
      </p:sp>
      <p:sp>
        <p:nvSpPr>
          <p:cNvPr id="21" name="Content Placeholder 10">
            <a:extLst>
              <a:ext uri="{FF2B5EF4-FFF2-40B4-BE49-F238E27FC236}">
                <a16:creationId xmlns:a16="http://schemas.microsoft.com/office/drawing/2014/main" id="{84469D84-CF2F-C575-D5BF-9628B05404B6}"/>
              </a:ext>
            </a:extLst>
          </p:cNvPr>
          <p:cNvSpPr>
            <a:spLocks noGrp="1"/>
          </p:cNvSpPr>
          <p:nvPr>
            <p:ph sz="quarter" idx="15"/>
          </p:nvPr>
        </p:nvSpPr>
        <p:spPr>
          <a:xfrm>
            <a:off x="696912" y="6057617"/>
            <a:ext cx="5400675" cy="448799"/>
          </a:xfrm>
        </p:spPr>
        <p:txBody>
          <a:bodyPr/>
          <a:lstStyle/>
          <a:p>
            <a:r>
              <a:rPr lang="en-AU" dirty="0"/>
              <a:t>Engineering construction work yet to be done (outside heavy industry), is close to record highs in QLD, suggesting a reasonable pipeline of work…</a:t>
            </a:r>
          </a:p>
        </p:txBody>
      </p:sp>
      <p:graphicFrame>
        <p:nvGraphicFramePr>
          <p:cNvPr id="2" name="Object 1">
            <a:extLst>
              <a:ext uri="{FF2B5EF4-FFF2-40B4-BE49-F238E27FC236}">
                <a16:creationId xmlns:a16="http://schemas.microsoft.com/office/drawing/2014/main" id="{EA18FABF-B7DF-BB6E-3723-B25CBBD3278E}"/>
              </a:ext>
            </a:extLst>
          </p:cNvPr>
          <p:cNvGraphicFramePr>
            <a:graphicFrameLocks noChangeAspect="1"/>
          </p:cNvGraphicFramePr>
          <p:nvPr>
            <p:extLst>
              <p:ext uri="{D42A27DB-BD31-4B8C-83A1-F6EECF244321}">
                <p14:modId xmlns:p14="http://schemas.microsoft.com/office/powerpoint/2010/main" val="1188926609"/>
              </p:ext>
            </p:extLst>
          </p:nvPr>
        </p:nvGraphicFramePr>
        <p:xfrm>
          <a:off x="518971" y="1068108"/>
          <a:ext cx="5124450" cy="4722813"/>
        </p:xfrm>
        <a:graphic>
          <a:graphicData uri="http://schemas.openxmlformats.org/presentationml/2006/ole">
            <mc:AlternateContent xmlns:mc="http://schemas.openxmlformats.org/markup-compatibility/2006">
              <mc:Choice xmlns:v="urn:schemas-microsoft-com:vml" Requires="v">
                <p:oleObj name="Macrobond document" r:id="rId2" imgW="5123742" imgH="4723318" progId="Mbnd.mbnd">
                  <p:embed/>
                </p:oleObj>
              </mc:Choice>
              <mc:Fallback>
                <p:oleObj name="Macrobond document" r:id="rId2" imgW="5123742" imgH="4723318" progId="Mbnd.mbnd">
                  <p:embed/>
                  <p:pic>
                    <p:nvPicPr>
                      <p:cNvPr id="2" name="Object 1">
                        <a:extLst>
                          <a:ext uri="{FF2B5EF4-FFF2-40B4-BE49-F238E27FC236}">
                            <a16:creationId xmlns:a16="http://schemas.microsoft.com/office/drawing/2014/main" id="{CE1D23B6-A28B-B0CE-A3D5-541501B151EC}"/>
                          </a:ext>
                        </a:extLst>
                      </p:cNvPr>
                      <p:cNvPicPr/>
                      <p:nvPr/>
                    </p:nvPicPr>
                    <p:blipFill>
                      <a:blip r:embed="rId3"/>
                      <a:stretch>
                        <a:fillRect/>
                      </a:stretch>
                    </p:blipFill>
                    <p:spPr>
                      <a:xfrm>
                        <a:off x="518971" y="1068108"/>
                        <a:ext cx="5124450" cy="4722813"/>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FD22812C-C12C-D450-D2B3-B6C3489D2479}"/>
              </a:ext>
            </a:extLst>
          </p:cNvPr>
          <p:cNvSpPr txBox="1">
            <a:spLocks/>
          </p:cNvSpPr>
          <p:nvPr/>
        </p:nvSpPr>
        <p:spPr bwMode="auto">
          <a:xfrm>
            <a:off x="6427510" y="6057617"/>
            <a:ext cx="5507737" cy="86871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pPr>
              <a:spcBef>
                <a:spcPts val="0"/>
              </a:spcBef>
              <a:buClr>
                <a:schemeClr val="accent1"/>
              </a:buClr>
            </a:pPr>
            <a:r>
              <a:rPr lang="en-AU" dirty="0"/>
              <a:t>…with this consistent with projections at the national level for drivers of costs being seen as stabilising at current levels rather than falling further</a:t>
            </a:r>
            <a:endParaRPr lang="en-AU" altLang="en-US" dirty="0"/>
          </a:p>
        </p:txBody>
      </p:sp>
      <p:graphicFrame>
        <p:nvGraphicFramePr>
          <p:cNvPr id="11" name="Object 10">
            <a:extLst>
              <a:ext uri="{FF2B5EF4-FFF2-40B4-BE49-F238E27FC236}">
                <a16:creationId xmlns:a16="http://schemas.microsoft.com/office/drawing/2014/main" id="{50B5926A-3757-C9A6-6AFB-B4E581B8B6B8}"/>
              </a:ext>
            </a:extLst>
          </p:cNvPr>
          <p:cNvGraphicFramePr>
            <a:graphicFrameLocks noChangeAspect="1"/>
          </p:cNvGraphicFramePr>
          <p:nvPr>
            <p:extLst>
              <p:ext uri="{D42A27DB-BD31-4B8C-83A1-F6EECF244321}">
                <p14:modId xmlns:p14="http://schemas.microsoft.com/office/powerpoint/2010/main" val="3758903196"/>
              </p:ext>
            </p:extLst>
          </p:nvPr>
        </p:nvGraphicFramePr>
        <p:xfrm>
          <a:off x="6427510" y="1334805"/>
          <a:ext cx="5124450" cy="4722812"/>
        </p:xfrm>
        <a:graphic>
          <a:graphicData uri="http://schemas.openxmlformats.org/presentationml/2006/ole">
            <mc:AlternateContent xmlns:mc="http://schemas.openxmlformats.org/markup-compatibility/2006">
              <mc:Choice xmlns:v="urn:schemas-microsoft-com:vml" Requires="v">
                <p:oleObj name="Macrobond document" r:id="rId4" imgW="5123742" imgH="4723318" progId="Mbnd.mbnd">
                  <p:embed/>
                </p:oleObj>
              </mc:Choice>
              <mc:Fallback>
                <p:oleObj name="Macrobond document" r:id="rId4" imgW="5123742" imgH="4723318" progId="Mbnd.mbnd">
                  <p:embed/>
                  <p:pic>
                    <p:nvPicPr>
                      <p:cNvPr id="5" name="Object 4">
                        <a:extLst>
                          <a:ext uri="{FF2B5EF4-FFF2-40B4-BE49-F238E27FC236}">
                            <a16:creationId xmlns:a16="http://schemas.microsoft.com/office/drawing/2014/main" id="{50B5926A-3757-C9A6-6AFB-B4E581B8B6B8}"/>
                          </a:ext>
                        </a:extLst>
                      </p:cNvPr>
                      <p:cNvPicPr/>
                      <p:nvPr/>
                    </p:nvPicPr>
                    <p:blipFill>
                      <a:blip r:embed="rId5"/>
                      <a:stretch>
                        <a:fillRect/>
                      </a:stretch>
                    </p:blipFill>
                    <p:spPr>
                      <a:xfrm>
                        <a:off x="6427510" y="1334805"/>
                        <a:ext cx="5124450" cy="4722812"/>
                      </a:xfrm>
                      <a:prstGeom prst="rect">
                        <a:avLst/>
                      </a:prstGeom>
                    </p:spPr>
                  </p:pic>
                </p:oleObj>
              </mc:Fallback>
            </mc:AlternateContent>
          </a:graphicData>
        </a:graphic>
      </p:graphicFrame>
      <p:sp>
        <p:nvSpPr>
          <p:cNvPr id="12" name="Content Placeholder 2">
            <a:extLst>
              <a:ext uri="{FF2B5EF4-FFF2-40B4-BE49-F238E27FC236}">
                <a16:creationId xmlns:a16="http://schemas.microsoft.com/office/drawing/2014/main" id="{6B08A8A6-2910-9CC8-E5FD-AD0B2EF5D600}"/>
              </a:ext>
            </a:extLst>
          </p:cNvPr>
          <p:cNvSpPr txBox="1">
            <a:spLocks/>
          </p:cNvSpPr>
          <p:nvPr/>
        </p:nvSpPr>
        <p:spPr bwMode="auto">
          <a:xfrm>
            <a:off x="8662857" y="1068668"/>
            <a:ext cx="1037042" cy="2661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3000" kern="1200" baseline="0" dirty="0">
                <a:solidFill>
                  <a:schemeClr val="tx1"/>
                </a:solidFill>
                <a:latin typeface="+mj-lt"/>
                <a:ea typeface="+mn-ea"/>
                <a:cs typeface="+mn-cs"/>
              </a:defRPr>
            </a:lvl4pPr>
            <a:lvl5pPr marL="0" indent="0" algn="l" defTabSz="1088776" rtl="0" eaLnBrk="1" latinLnBrk="0" hangingPunct="1">
              <a:spcBef>
                <a:spcPts val="600"/>
              </a:spcBef>
              <a:spcAft>
                <a:spcPts val="400"/>
              </a:spcAft>
              <a:buFont typeface="Arial" pitchFamily="34" charset="0"/>
              <a:buNone/>
              <a:defRPr lang="en-US" sz="2000" b="0" kern="1200" baseline="0" dirty="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sz="1600" b="0" kern="120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pPr>
              <a:spcBef>
                <a:spcPts val="0"/>
              </a:spcBef>
              <a:buClr>
                <a:schemeClr val="accent1"/>
              </a:buClr>
            </a:pPr>
            <a:r>
              <a:rPr lang="en-AU" b="1" dirty="0"/>
              <a:t>Cost drivers</a:t>
            </a:r>
            <a:endParaRPr lang="en-AU" altLang="en-US" b="1" dirty="0"/>
          </a:p>
        </p:txBody>
      </p:sp>
    </p:spTree>
    <p:extLst>
      <p:ext uri="{BB962C8B-B14F-4D97-AF65-F5344CB8AC3E}">
        <p14:creationId xmlns:p14="http://schemas.microsoft.com/office/powerpoint/2010/main" val="1613343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87AB99-20F5-C545-52A0-17A089D668FF}"/>
              </a:ext>
            </a:extLst>
          </p:cNvPr>
          <p:cNvSpPr>
            <a:spLocks noGrp="1"/>
          </p:cNvSpPr>
          <p:nvPr>
            <p:ph type="body" idx="18"/>
          </p:nvPr>
        </p:nvSpPr>
        <p:spPr>
          <a:xfrm>
            <a:off x="731450" y="2757237"/>
            <a:ext cx="10926762" cy="1345114"/>
          </a:xfrm>
        </p:spPr>
        <p:txBody>
          <a:bodyPr/>
          <a:lstStyle/>
          <a:p>
            <a:r>
              <a:rPr lang="en-AU" dirty="0"/>
              <a:t>Global economy – US trade policy</a:t>
            </a:r>
          </a:p>
        </p:txBody>
      </p:sp>
      <p:sp>
        <p:nvSpPr>
          <p:cNvPr id="6" name="Slide Number Placeholder 5">
            <a:extLst>
              <a:ext uri="{FF2B5EF4-FFF2-40B4-BE49-F238E27FC236}">
                <a16:creationId xmlns:a16="http://schemas.microsoft.com/office/drawing/2014/main" id="{109B0B91-4830-2050-258A-8E916A925A96}"/>
              </a:ext>
            </a:extLst>
          </p:cNvPr>
          <p:cNvSpPr>
            <a:spLocks noGrp="1"/>
          </p:cNvSpPr>
          <p:nvPr>
            <p:ph type="sldNum" sz="quarter" idx="20"/>
          </p:nvPr>
        </p:nvSpPr>
        <p:spPr/>
        <p:txBody>
          <a:bodyPr/>
          <a:lstStyle/>
          <a:p>
            <a:fld id="{E917DE0E-AFB1-41FD-BC35-27DB61CA125F}" type="slidenum">
              <a:rPr lang="en-AU" smtClean="0"/>
              <a:pPr/>
              <a:t>3</a:t>
            </a:fld>
            <a:endParaRPr lang="en-AU"/>
          </a:p>
        </p:txBody>
      </p:sp>
    </p:spTree>
    <p:extLst>
      <p:ext uri="{BB962C8B-B14F-4D97-AF65-F5344CB8AC3E}">
        <p14:creationId xmlns:p14="http://schemas.microsoft.com/office/powerpoint/2010/main" val="152071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6F88AA-0E06-43D4-8712-8B5CDD1D9863}"/>
              </a:ext>
            </a:extLst>
          </p:cNvPr>
          <p:cNvSpPr>
            <a:spLocks noGrp="1"/>
          </p:cNvSpPr>
          <p:nvPr>
            <p:ph sz="quarter" idx="11"/>
          </p:nvPr>
        </p:nvSpPr>
        <p:spPr/>
        <p:txBody>
          <a:bodyPr/>
          <a:lstStyle/>
          <a:p>
            <a:r>
              <a:rPr lang="en-US" dirty="0"/>
              <a:t>QTC has prepared this presentation for the Queensland Economic Teachers Association</a:t>
            </a:r>
            <a:r>
              <a:rPr lang="en-AU" dirty="0"/>
              <a:t>.</a:t>
            </a:r>
            <a:endParaRPr lang="en-US" dirty="0"/>
          </a:p>
          <a:p>
            <a:r>
              <a:rPr lang="en-US" dirty="0"/>
              <a:t>The recipient shall not use the presentation for any purpose other than the purpose for which the presentation was expressly provided. The presentation contains confidential information. None of its contents may be provided or disclosed to any other party without QTC’s express written consent.</a:t>
            </a:r>
          </a:p>
          <a:p>
            <a:r>
              <a:rPr lang="en-US" dirty="0"/>
              <a:t>The information in this presentation is provided by QTC in good faith in relation to the information available at the time of its preparation and on the basis of information supplied to QTC by third parties. QTC has not independently verified the information supplied to it and accordingly does not represent that the information provided to QTC is accurate or complete and it should not be relied upon as such. QTC is under no obligation or duty to notify anyone if there is any change in any information or any new information or if it forms a different opinion at any time after the date of this presentation.</a:t>
            </a:r>
          </a:p>
          <a:p>
            <a:r>
              <a:rPr lang="en-US" dirty="0"/>
              <a:t>Neither QTC nor any of its employees or agents accepts any liability for any loss or damage suffered by any person as a result of that person or any other person placing any reliance on, or acting on the basis of, the contents of this presentation. To the extent permitted by law, QTC expressly excludes any representation or warranty in relation to the accuracy, currency and completeness of the presentation. To the extent permitted by law, QTC limits its liability to the amount of any fees paid to QTC for this presentation.</a:t>
            </a:r>
          </a:p>
          <a:p>
            <a:r>
              <a:rPr lang="en-US" dirty="0"/>
              <a:t>The recipient acknowledges that QTC is not a legal, tax or accounting advisor and that independent expert advice from practitioners in the relevant disciplines should be obtained on those matters before acting upon the information contained in this presentation.</a:t>
            </a:r>
          </a:p>
          <a:p>
            <a:r>
              <a:rPr lang="en-US" dirty="0"/>
              <a:t>© Queensland Treasury Corporation 2025</a:t>
            </a:r>
          </a:p>
        </p:txBody>
      </p:sp>
      <p:sp>
        <p:nvSpPr>
          <p:cNvPr id="4" name="Title 3">
            <a:extLst>
              <a:ext uri="{FF2B5EF4-FFF2-40B4-BE49-F238E27FC236}">
                <a16:creationId xmlns:a16="http://schemas.microsoft.com/office/drawing/2014/main" id="{2C623E69-1D30-4002-9BC1-A424C7A28C6E}"/>
              </a:ext>
            </a:extLst>
          </p:cNvPr>
          <p:cNvSpPr>
            <a:spLocks noGrp="1"/>
          </p:cNvSpPr>
          <p:nvPr>
            <p:ph type="title"/>
          </p:nvPr>
        </p:nvSpPr>
        <p:spPr/>
        <p:txBody>
          <a:bodyPr/>
          <a:lstStyle/>
          <a:p>
            <a:r>
              <a:rPr lang="en-AU"/>
              <a:t>Disclaimer</a:t>
            </a:r>
          </a:p>
        </p:txBody>
      </p:sp>
      <p:sp>
        <p:nvSpPr>
          <p:cNvPr id="3" name="Slide Number Placeholder 2">
            <a:extLst>
              <a:ext uri="{FF2B5EF4-FFF2-40B4-BE49-F238E27FC236}">
                <a16:creationId xmlns:a16="http://schemas.microsoft.com/office/drawing/2014/main" id="{69DB3EBF-26A0-483D-923E-8F175AD1285D}"/>
              </a:ext>
            </a:extLst>
          </p:cNvPr>
          <p:cNvSpPr>
            <a:spLocks noGrp="1"/>
          </p:cNvSpPr>
          <p:nvPr>
            <p:ph type="sldNum" sz="quarter" idx="13"/>
          </p:nvPr>
        </p:nvSpPr>
        <p:spPr/>
        <p:txBody>
          <a:bodyPr/>
          <a:lstStyle/>
          <a:p>
            <a:fld id="{E917DE0E-AFB1-41FD-BC35-27DB61CA125F}" type="slidenum">
              <a:rPr lang="en-AU" smtClean="0"/>
              <a:pPr/>
              <a:t>30</a:t>
            </a:fld>
            <a:endParaRPr lang="en-AU"/>
          </a:p>
        </p:txBody>
      </p:sp>
    </p:spTree>
    <p:extLst>
      <p:ext uri="{BB962C8B-B14F-4D97-AF65-F5344CB8AC3E}">
        <p14:creationId xmlns:p14="http://schemas.microsoft.com/office/powerpoint/2010/main" val="14041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96C982-3A81-D8E7-E42C-1CDB0B046B3A}"/>
              </a:ext>
            </a:extLst>
          </p:cNvPr>
          <p:cNvSpPr>
            <a:spLocks noGrp="1"/>
          </p:cNvSpPr>
          <p:nvPr>
            <p:ph type="title"/>
          </p:nvPr>
        </p:nvSpPr>
        <p:spPr>
          <a:xfrm>
            <a:off x="696912" y="117426"/>
            <a:ext cx="10801350" cy="576264"/>
          </a:xfrm>
        </p:spPr>
        <p:txBody>
          <a:bodyPr/>
          <a:lstStyle/>
          <a:p>
            <a:r>
              <a:rPr lang="en-AU" dirty="0"/>
              <a:t>US trade policy – State of play</a:t>
            </a:r>
          </a:p>
        </p:txBody>
      </p:sp>
      <p:sp>
        <p:nvSpPr>
          <p:cNvPr id="17" name="Slide Number Placeholder 16">
            <a:extLst>
              <a:ext uri="{FF2B5EF4-FFF2-40B4-BE49-F238E27FC236}">
                <a16:creationId xmlns:a16="http://schemas.microsoft.com/office/drawing/2014/main" id="{A22BE479-268D-2AE7-D21B-7087D6ECFF17}"/>
              </a:ext>
            </a:extLst>
          </p:cNvPr>
          <p:cNvSpPr>
            <a:spLocks noGrp="1"/>
          </p:cNvSpPr>
          <p:nvPr>
            <p:ph type="sldNum" sz="quarter" idx="16"/>
          </p:nvPr>
        </p:nvSpPr>
        <p:spPr/>
        <p:txBody>
          <a:bodyPr/>
          <a:lstStyle/>
          <a:p>
            <a:fld id="{E917DE0E-AFB1-41FD-BC35-27DB61CA125F}" type="slidenum">
              <a:rPr lang="en-AU" smtClean="0"/>
              <a:pPr/>
              <a:t>4</a:t>
            </a:fld>
            <a:endParaRPr lang="en-AU"/>
          </a:p>
        </p:txBody>
      </p:sp>
      <p:sp>
        <p:nvSpPr>
          <p:cNvPr id="6" name="TextBox 5">
            <a:extLst>
              <a:ext uri="{FF2B5EF4-FFF2-40B4-BE49-F238E27FC236}">
                <a16:creationId xmlns:a16="http://schemas.microsoft.com/office/drawing/2014/main" id="{3F2527BC-EBD1-EF64-69E5-1296D0DDFD11}"/>
              </a:ext>
            </a:extLst>
          </p:cNvPr>
          <p:cNvSpPr txBox="1"/>
          <p:nvPr/>
        </p:nvSpPr>
        <p:spPr>
          <a:xfrm>
            <a:off x="257132" y="5863894"/>
            <a:ext cx="6264696" cy="307777"/>
          </a:xfrm>
          <a:prstGeom prst="rect">
            <a:avLst/>
          </a:prstGeom>
          <a:noFill/>
        </p:spPr>
        <p:txBody>
          <a:bodyPr wrap="square" rtlCol="0">
            <a:spAutoFit/>
          </a:bodyPr>
          <a:lstStyle/>
          <a:p>
            <a:r>
              <a:rPr lang="en-AU"/>
              <a:t>Source: </a:t>
            </a:r>
            <a:r>
              <a:rPr lang="en-AU">
                <a:hlinkClick r:id="rId3"/>
              </a:rPr>
              <a:t>Whitehouse</a:t>
            </a:r>
            <a:endParaRPr lang="en-AU"/>
          </a:p>
        </p:txBody>
      </p:sp>
      <p:graphicFrame>
        <p:nvGraphicFramePr>
          <p:cNvPr id="5" name="Table 4">
            <a:extLst>
              <a:ext uri="{FF2B5EF4-FFF2-40B4-BE49-F238E27FC236}">
                <a16:creationId xmlns:a16="http://schemas.microsoft.com/office/drawing/2014/main" id="{DB182E53-9E51-6805-201D-C0D574C00D8A}"/>
              </a:ext>
            </a:extLst>
          </p:cNvPr>
          <p:cNvGraphicFramePr>
            <a:graphicFrameLocks noGrp="1"/>
          </p:cNvGraphicFramePr>
          <p:nvPr/>
        </p:nvGraphicFramePr>
        <p:xfrm>
          <a:off x="321352" y="1198329"/>
          <a:ext cx="6136256" cy="4608315"/>
        </p:xfrm>
        <a:graphic>
          <a:graphicData uri="http://schemas.openxmlformats.org/drawingml/2006/table">
            <a:tbl>
              <a:tblPr firstRow="1" bandRow="1">
                <a:tableStyleId>{D3524137-FF3D-4037-A441-0A574C4DDBCC}</a:tableStyleId>
              </a:tblPr>
              <a:tblGrid>
                <a:gridCol w="5056136">
                  <a:extLst>
                    <a:ext uri="{9D8B030D-6E8A-4147-A177-3AD203B41FA5}">
                      <a16:colId xmlns:a16="http://schemas.microsoft.com/office/drawing/2014/main" val="2976328519"/>
                    </a:ext>
                  </a:extLst>
                </a:gridCol>
                <a:gridCol w="1080120">
                  <a:extLst>
                    <a:ext uri="{9D8B030D-6E8A-4147-A177-3AD203B41FA5}">
                      <a16:colId xmlns:a16="http://schemas.microsoft.com/office/drawing/2014/main" val="3345957072"/>
                    </a:ext>
                  </a:extLst>
                </a:gridCol>
              </a:tblGrid>
              <a:tr h="307221">
                <a:tc>
                  <a:txBody>
                    <a:bodyPr/>
                    <a:lstStyle/>
                    <a:p>
                      <a:r>
                        <a:rPr lang="en-AU"/>
                        <a:t>Country/product</a:t>
                      </a:r>
                    </a:p>
                  </a:txBody>
                  <a:tcPr/>
                </a:tc>
                <a:tc>
                  <a:txBody>
                    <a:bodyPr/>
                    <a:lstStyle/>
                    <a:p>
                      <a:r>
                        <a:rPr lang="en-AU"/>
                        <a:t>Tariff rate</a:t>
                      </a:r>
                    </a:p>
                  </a:txBody>
                  <a:tcPr/>
                </a:tc>
                <a:extLst>
                  <a:ext uri="{0D108BD9-81ED-4DB2-BD59-A6C34878D82A}">
                    <a16:rowId xmlns:a16="http://schemas.microsoft.com/office/drawing/2014/main" val="737700130"/>
                  </a:ext>
                </a:extLst>
              </a:tr>
              <a:tr h="307221">
                <a:tc>
                  <a:txBody>
                    <a:bodyPr/>
                    <a:lstStyle/>
                    <a:p>
                      <a:r>
                        <a:rPr lang="en-AU"/>
                        <a:t>China</a:t>
                      </a:r>
                    </a:p>
                  </a:txBody>
                  <a:tcPr/>
                </a:tc>
                <a:tc>
                  <a:txBody>
                    <a:bodyPr/>
                    <a:lstStyle/>
                    <a:p>
                      <a:r>
                        <a:rPr lang="en-AU" dirty="0"/>
                        <a:t>20%</a:t>
                      </a:r>
                    </a:p>
                  </a:txBody>
                  <a:tcPr/>
                </a:tc>
                <a:extLst>
                  <a:ext uri="{0D108BD9-81ED-4DB2-BD59-A6C34878D82A}">
                    <a16:rowId xmlns:a16="http://schemas.microsoft.com/office/drawing/2014/main" val="1397218539"/>
                  </a:ext>
                </a:extLst>
              </a:tr>
              <a:tr h="307221">
                <a:tc>
                  <a:txBody>
                    <a:bodyPr/>
                    <a:lstStyle/>
                    <a:p>
                      <a:pPr marL="0" marR="0" lvl="0" indent="0" algn="l" defTabSz="1088776" rtl="0" eaLnBrk="1" fontAlgn="auto" latinLnBrk="0" hangingPunct="1">
                        <a:lnSpc>
                          <a:spcPct val="100000"/>
                        </a:lnSpc>
                        <a:spcBef>
                          <a:spcPts val="1200"/>
                        </a:spcBef>
                        <a:spcAft>
                          <a:spcPts val="600"/>
                        </a:spcAft>
                        <a:buClr>
                          <a:schemeClr val="tx1"/>
                        </a:buClr>
                        <a:buSzTx/>
                        <a:buFont typeface="Arial" pitchFamily="34" charset="0"/>
                        <a:buNone/>
                        <a:tabLst/>
                        <a:defRPr/>
                      </a:pPr>
                      <a:r>
                        <a:rPr lang="en-AU"/>
                        <a:t>Switzerland</a:t>
                      </a:r>
                    </a:p>
                  </a:txBody>
                  <a:tcPr/>
                </a:tc>
                <a:tc>
                  <a:txBody>
                    <a:bodyPr/>
                    <a:lstStyle/>
                    <a:p>
                      <a:r>
                        <a:rPr lang="en-AU"/>
                        <a:t>39%</a:t>
                      </a:r>
                    </a:p>
                  </a:txBody>
                  <a:tcPr/>
                </a:tc>
                <a:extLst>
                  <a:ext uri="{0D108BD9-81ED-4DB2-BD59-A6C34878D82A}">
                    <a16:rowId xmlns:a16="http://schemas.microsoft.com/office/drawing/2014/main" val="1005478235"/>
                  </a:ext>
                </a:extLst>
              </a:tr>
              <a:tr h="307221">
                <a:tc>
                  <a:txBody>
                    <a:bodyPr/>
                    <a:lstStyle/>
                    <a:p>
                      <a:r>
                        <a:rPr lang="en-AU"/>
                        <a:t>Canada</a:t>
                      </a:r>
                    </a:p>
                  </a:txBody>
                  <a:tcPr/>
                </a:tc>
                <a:tc>
                  <a:txBody>
                    <a:bodyPr/>
                    <a:lstStyle/>
                    <a:p>
                      <a:r>
                        <a:rPr lang="en-AU"/>
                        <a:t>35%</a:t>
                      </a:r>
                    </a:p>
                  </a:txBody>
                  <a:tcPr/>
                </a:tc>
                <a:extLst>
                  <a:ext uri="{0D108BD9-81ED-4DB2-BD59-A6C34878D82A}">
                    <a16:rowId xmlns:a16="http://schemas.microsoft.com/office/drawing/2014/main" val="436635213"/>
                  </a:ext>
                </a:extLst>
              </a:tr>
              <a:tr h="307221">
                <a:tc>
                  <a:txBody>
                    <a:bodyPr/>
                    <a:lstStyle/>
                    <a:p>
                      <a:r>
                        <a:rPr lang="en-AU"/>
                        <a:t>Mexico, India</a:t>
                      </a:r>
                    </a:p>
                  </a:txBody>
                  <a:tcPr/>
                </a:tc>
                <a:tc>
                  <a:txBody>
                    <a:bodyPr/>
                    <a:lstStyle/>
                    <a:p>
                      <a:r>
                        <a:rPr lang="en-AU"/>
                        <a:t>25%</a:t>
                      </a:r>
                    </a:p>
                  </a:txBody>
                  <a:tcPr/>
                </a:tc>
                <a:extLst>
                  <a:ext uri="{0D108BD9-81ED-4DB2-BD59-A6C34878D82A}">
                    <a16:rowId xmlns:a16="http://schemas.microsoft.com/office/drawing/2014/main" val="478536553"/>
                  </a:ext>
                </a:extLst>
              </a:tr>
              <a:tr h="307221">
                <a:tc>
                  <a:txBody>
                    <a:bodyPr/>
                    <a:lstStyle/>
                    <a:p>
                      <a:pPr marL="0" marR="0" lvl="0" indent="0" algn="l" defTabSz="1088776" rtl="0" eaLnBrk="1" fontAlgn="auto" latinLnBrk="0" hangingPunct="1">
                        <a:lnSpc>
                          <a:spcPct val="100000"/>
                        </a:lnSpc>
                        <a:spcBef>
                          <a:spcPts val="1200"/>
                        </a:spcBef>
                        <a:spcAft>
                          <a:spcPts val="600"/>
                        </a:spcAft>
                        <a:buClr>
                          <a:schemeClr val="tx1"/>
                        </a:buClr>
                        <a:buSzTx/>
                        <a:buFont typeface="Arial" pitchFamily="34" charset="0"/>
                        <a:buNone/>
                        <a:tabLst/>
                        <a:defRPr/>
                      </a:pPr>
                      <a:r>
                        <a:rPr lang="en-AU"/>
                        <a:t>Taiwan, Vietnam, Bangladesh, Sri Lanka</a:t>
                      </a:r>
                    </a:p>
                  </a:txBody>
                  <a:tcPr/>
                </a:tc>
                <a:tc>
                  <a:txBody>
                    <a:bodyPr/>
                    <a:lstStyle/>
                    <a:p>
                      <a:r>
                        <a:rPr lang="en-AU"/>
                        <a:t>20%</a:t>
                      </a:r>
                    </a:p>
                  </a:txBody>
                  <a:tcPr/>
                </a:tc>
                <a:extLst>
                  <a:ext uri="{0D108BD9-81ED-4DB2-BD59-A6C34878D82A}">
                    <a16:rowId xmlns:a16="http://schemas.microsoft.com/office/drawing/2014/main" val="1843516825"/>
                  </a:ext>
                </a:extLst>
              </a:tr>
              <a:tr h="307221">
                <a:tc>
                  <a:txBody>
                    <a:bodyPr/>
                    <a:lstStyle/>
                    <a:p>
                      <a:pPr marL="0" marR="0" lvl="0" indent="0" algn="l" defTabSz="1088776" rtl="0" eaLnBrk="1" fontAlgn="auto" latinLnBrk="0" hangingPunct="1">
                        <a:lnSpc>
                          <a:spcPct val="100000"/>
                        </a:lnSpc>
                        <a:spcBef>
                          <a:spcPts val="1200"/>
                        </a:spcBef>
                        <a:spcAft>
                          <a:spcPts val="600"/>
                        </a:spcAft>
                        <a:buClr>
                          <a:schemeClr val="tx1"/>
                        </a:buClr>
                        <a:buSzTx/>
                        <a:buFont typeface="Arial" pitchFamily="34" charset="0"/>
                        <a:buNone/>
                        <a:tabLst/>
                        <a:defRPr/>
                      </a:pPr>
                      <a:r>
                        <a:rPr lang="en-AU"/>
                        <a:t>Indonesia, Philippines, Cambodia, Malaysia, Thailand, Pakistan</a:t>
                      </a:r>
                    </a:p>
                  </a:txBody>
                  <a:tcPr/>
                </a:tc>
                <a:tc>
                  <a:txBody>
                    <a:bodyPr/>
                    <a:lstStyle/>
                    <a:p>
                      <a:r>
                        <a:rPr lang="en-AU"/>
                        <a:t>19%</a:t>
                      </a:r>
                    </a:p>
                  </a:txBody>
                  <a:tcPr/>
                </a:tc>
                <a:extLst>
                  <a:ext uri="{0D108BD9-81ED-4DB2-BD59-A6C34878D82A}">
                    <a16:rowId xmlns:a16="http://schemas.microsoft.com/office/drawing/2014/main" val="1849713202"/>
                  </a:ext>
                </a:extLst>
              </a:tr>
              <a:tr h="307221">
                <a:tc>
                  <a:txBody>
                    <a:bodyPr/>
                    <a:lstStyle/>
                    <a:p>
                      <a:pPr marL="0" marR="0" lvl="0" indent="0" algn="l" defTabSz="1088776" rtl="0" eaLnBrk="1" fontAlgn="auto" latinLnBrk="0" hangingPunct="1">
                        <a:lnSpc>
                          <a:spcPct val="100000"/>
                        </a:lnSpc>
                        <a:spcBef>
                          <a:spcPts val="1200"/>
                        </a:spcBef>
                        <a:spcAft>
                          <a:spcPts val="600"/>
                        </a:spcAft>
                        <a:buClr>
                          <a:schemeClr val="tx1"/>
                        </a:buClr>
                        <a:buSzTx/>
                        <a:buFont typeface="Arial" pitchFamily="34" charset="0"/>
                        <a:buNone/>
                        <a:tabLst/>
                        <a:defRPr/>
                      </a:pPr>
                      <a:r>
                        <a:rPr lang="en-AU"/>
                        <a:t>EU, Japan, South Korea, NZ (&amp; 36 other countries)</a:t>
                      </a:r>
                    </a:p>
                  </a:txBody>
                  <a:tcPr/>
                </a:tc>
                <a:tc>
                  <a:txBody>
                    <a:bodyPr/>
                    <a:lstStyle/>
                    <a:p>
                      <a:r>
                        <a:rPr lang="en-AU"/>
                        <a:t>15%</a:t>
                      </a:r>
                    </a:p>
                  </a:txBody>
                  <a:tcPr/>
                </a:tc>
                <a:extLst>
                  <a:ext uri="{0D108BD9-81ED-4DB2-BD59-A6C34878D82A}">
                    <a16:rowId xmlns:a16="http://schemas.microsoft.com/office/drawing/2014/main" val="555739127"/>
                  </a:ext>
                </a:extLst>
              </a:tr>
              <a:tr h="307221">
                <a:tc>
                  <a:txBody>
                    <a:bodyPr/>
                    <a:lstStyle/>
                    <a:p>
                      <a:r>
                        <a:rPr lang="en-AU"/>
                        <a:t>Others cited in Whitehouse press release</a:t>
                      </a:r>
                    </a:p>
                  </a:txBody>
                  <a:tcPr/>
                </a:tc>
                <a:tc>
                  <a:txBody>
                    <a:bodyPr/>
                    <a:lstStyle/>
                    <a:p>
                      <a:r>
                        <a:rPr lang="en-AU"/>
                        <a:t>15% to 41%</a:t>
                      </a:r>
                    </a:p>
                  </a:txBody>
                  <a:tcPr/>
                </a:tc>
                <a:extLst>
                  <a:ext uri="{0D108BD9-81ED-4DB2-BD59-A6C34878D82A}">
                    <a16:rowId xmlns:a16="http://schemas.microsoft.com/office/drawing/2014/main" val="1933449902"/>
                  </a:ext>
                </a:extLst>
              </a:tr>
              <a:tr h="307221">
                <a:tc>
                  <a:txBody>
                    <a:bodyPr/>
                    <a:lstStyle/>
                    <a:p>
                      <a:r>
                        <a:rPr lang="en-AU"/>
                        <a:t>Other (including Australia, Brazil, UK and others not in press release)</a:t>
                      </a:r>
                    </a:p>
                  </a:txBody>
                  <a:tcPr/>
                </a:tc>
                <a:tc>
                  <a:txBody>
                    <a:bodyPr/>
                    <a:lstStyle/>
                    <a:p>
                      <a:r>
                        <a:rPr lang="en-AU"/>
                        <a:t>10%</a:t>
                      </a:r>
                    </a:p>
                  </a:txBody>
                  <a:tcPr/>
                </a:tc>
                <a:extLst>
                  <a:ext uri="{0D108BD9-81ED-4DB2-BD59-A6C34878D82A}">
                    <a16:rowId xmlns:a16="http://schemas.microsoft.com/office/drawing/2014/main" val="553341079"/>
                  </a:ext>
                </a:extLst>
              </a:tr>
              <a:tr h="307221">
                <a:tc>
                  <a:txBody>
                    <a:bodyPr/>
                    <a:lstStyle/>
                    <a:p>
                      <a:r>
                        <a:rPr lang="en-AU"/>
                        <a:t>Autos</a:t>
                      </a:r>
                    </a:p>
                  </a:txBody>
                  <a:tcPr/>
                </a:tc>
                <a:tc>
                  <a:txBody>
                    <a:bodyPr/>
                    <a:lstStyle/>
                    <a:p>
                      <a:r>
                        <a:rPr lang="en-AU"/>
                        <a:t>25%</a:t>
                      </a:r>
                    </a:p>
                  </a:txBody>
                  <a:tcPr/>
                </a:tc>
                <a:extLst>
                  <a:ext uri="{0D108BD9-81ED-4DB2-BD59-A6C34878D82A}">
                    <a16:rowId xmlns:a16="http://schemas.microsoft.com/office/drawing/2014/main" val="2469918670"/>
                  </a:ext>
                </a:extLst>
              </a:tr>
              <a:tr h="307221">
                <a:tc>
                  <a:txBody>
                    <a:bodyPr/>
                    <a:lstStyle/>
                    <a:p>
                      <a:r>
                        <a:rPr lang="en-AU"/>
                        <a:t>Steel and aluminium</a:t>
                      </a:r>
                    </a:p>
                  </a:txBody>
                  <a:tcPr/>
                </a:tc>
                <a:tc>
                  <a:txBody>
                    <a:bodyPr/>
                    <a:lstStyle/>
                    <a:p>
                      <a:r>
                        <a:rPr lang="en-AU"/>
                        <a:t>50%</a:t>
                      </a:r>
                    </a:p>
                  </a:txBody>
                  <a:tcPr/>
                </a:tc>
                <a:extLst>
                  <a:ext uri="{0D108BD9-81ED-4DB2-BD59-A6C34878D82A}">
                    <a16:rowId xmlns:a16="http://schemas.microsoft.com/office/drawing/2014/main" val="83182295"/>
                  </a:ext>
                </a:extLst>
              </a:tr>
              <a:tr h="307221">
                <a:tc>
                  <a:txBody>
                    <a:bodyPr/>
                    <a:lstStyle/>
                    <a:p>
                      <a:r>
                        <a:rPr lang="en-AU"/>
                        <a:t>Copper (semi-finished)</a:t>
                      </a:r>
                    </a:p>
                  </a:txBody>
                  <a:tcPr/>
                </a:tc>
                <a:tc>
                  <a:txBody>
                    <a:bodyPr/>
                    <a:lstStyle/>
                    <a:p>
                      <a:pPr marL="0" marR="0" lvl="0" indent="0" algn="l" defTabSz="1088776" rtl="0" eaLnBrk="1" fontAlgn="auto" latinLnBrk="0" hangingPunct="1">
                        <a:lnSpc>
                          <a:spcPct val="100000"/>
                        </a:lnSpc>
                        <a:spcBef>
                          <a:spcPts val="1200"/>
                        </a:spcBef>
                        <a:spcAft>
                          <a:spcPts val="600"/>
                        </a:spcAft>
                        <a:buClr>
                          <a:schemeClr val="tx1"/>
                        </a:buClr>
                        <a:buSzTx/>
                        <a:buFont typeface="Arial" pitchFamily="34" charset="0"/>
                        <a:buNone/>
                        <a:tabLst/>
                        <a:defRPr/>
                      </a:pPr>
                      <a:r>
                        <a:rPr lang="en-AU"/>
                        <a:t>50%</a:t>
                      </a:r>
                    </a:p>
                  </a:txBody>
                  <a:tcPr/>
                </a:tc>
                <a:extLst>
                  <a:ext uri="{0D108BD9-81ED-4DB2-BD59-A6C34878D82A}">
                    <a16:rowId xmlns:a16="http://schemas.microsoft.com/office/drawing/2014/main" val="3144152526"/>
                  </a:ext>
                </a:extLst>
              </a:tr>
              <a:tr h="307221">
                <a:tc>
                  <a:txBody>
                    <a:bodyPr/>
                    <a:lstStyle/>
                    <a:p>
                      <a:r>
                        <a:rPr lang="en-AU"/>
                        <a:t>Pharmaceuticals</a:t>
                      </a:r>
                    </a:p>
                  </a:txBody>
                  <a:tcPr/>
                </a:tc>
                <a:tc>
                  <a:txBody>
                    <a:bodyPr/>
                    <a:lstStyle/>
                    <a:p>
                      <a:r>
                        <a:rPr lang="en-AU"/>
                        <a:t>100%</a:t>
                      </a:r>
                    </a:p>
                  </a:txBody>
                  <a:tcPr/>
                </a:tc>
                <a:extLst>
                  <a:ext uri="{0D108BD9-81ED-4DB2-BD59-A6C34878D82A}">
                    <a16:rowId xmlns:a16="http://schemas.microsoft.com/office/drawing/2014/main" val="2151047995"/>
                  </a:ext>
                </a:extLst>
              </a:tr>
              <a:tr h="307221">
                <a:tc>
                  <a:txBody>
                    <a:bodyPr/>
                    <a:lstStyle/>
                    <a:p>
                      <a:r>
                        <a:rPr lang="en-AU"/>
                        <a:t>Semiconductors</a:t>
                      </a:r>
                    </a:p>
                  </a:txBody>
                  <a:tcPr/>
                </a:tc>
                <a:tc>
                  <a:txBody>
                    <a:bodyPr/>
                    <a:lstStyle/>
                    <a:p>
                      <a:pPr marL="0" marR="0" lvl="0" indent="0" algn="l" defTabSz="1088776" rtl="0" eaLnBrk="1" fontAlgn="auto" latinLnBrk="0" hangingPunct="1">
                        <a:lnSpc>
                          <a:spcPct val="100000"/>
                        </a:lnSpc>
                        <a:spcBef>
                          <a:spcPts val="1200"/>
                        </a:spcBef>
                        <a:spcAft>
                          <a:spcPts val="600"/>
                        </a:spcAft>
                        <a:buClr>
                          <a:schemeClr val="tx1"/>
                        </a:buClr>
                        <a:buSzTx/>
                        <a:buFont typeface="Arial" pitchFamily="34" charset="0"/>
                        <a:buNone/>
                        <a:tabLst/>
                        <a:defRPr/>
                      </a:pPr>
                      <a:r>
                        <a:rPr lang="en-AU" dirty="0"/>
                        <a:t>TBC</a:t>
                      </a:r>
                    </a:p>
                  </a:txBody>
                  <a:tcPr/>
                </a:tc>
                <a:extLst>
                  <a:ext uri="{0D108BD9-81ED-4DB2-BD59-A6C34878D82A}">
                    <a16:rowId xmlns:a16="http://schemas.microsoft.com/office/drawing/2014/main" val="3938166250"/>
                  </a:ext>
                </a:extLst>
              </a:tr>
            </a:tbl>
          </a:graphicData>
        </a:graphic>
      </p:graphicFrame>
      <p:graphicFrame>
        <p:nvGraphicFramePr>
          <p:cNvPr id="7" name="Object 6">
            <a:extLst>
              <a:ext uri="{FF2B5EF4-FFF2-40B4-BE49-F238E27FC236}">
                <a16:creationId xmlns:a16="http://schemas.microsoft.com/office/drawing/2014/main" id="{3BC8D160-925C-4202-5FB9-F81949DDC87D}"/>
              </a:ext>
            </a:extLst>
          </p:cNvPr>
          <p:cNvGraphicFramePr>
            <a:graphicFrameLocks noChangeAspect="1"/>
          </p:cNvGraphicFramePr>
          <p:nvPr/>
        </p:nvGraphicFramePr>
        <p:xfrm>
          <a:off x="6890618" y="1141081"/>
          <a:ext cx="5124450" cy="4722813"/>
        </p:xfrm>
        <a:graphic>
          <a:graphicData uri="http://schemas.openxmlformats.org/presentationml/2006/ole">
            <mc:AlternateContent xmlns:mc="http://schemas.openxmlformats.org/markup-compatibility/2006">
              <mc:Choice xmlns:v="urn:schemas-microsoft-com:vml" Requires="v">
                <p:oleObj name="Macrobond document" r:id="rId4" imgW="5123742" imgH="4723318" progId="Mbnd.mbnd">
                  <p:embed/>
                </p:oleObj>
              </mc:Choice>
              <mc:Fallback>
                <p:oleObj name="Macrobond document" r:id="rId4" imgW="5123742" imgH="4723318" progId="Mbnd.mbnd">
                  <p:embed/>
                  <p:pic>
                    <p:nvPicPr>
                      <p:cNvPr id="7" name="Object 6">
                        <a:extLst>
                          <a:ext uri="{FF2B5EF4-FFF2-40B4-BE49-F238E27FC236}">
                            <a16:creationId xmlns:a16="http://schemas.microsoft.com/office/drawing/2014/main" id="{3BC8D160-925C-4202-5FB9-F81949DDC87D}"/>
                          </a:ext>
                        </a:extLst>
                      </p:cNvPr>
                      <p:cNvPicPr/>
                      <p:nvPr/>
                    </p:nvPicPr>
                    <p:blipFill>
                      <a:blip r:embed="rId5"/>
                      <a:stretch>
                        <a:fillRect/>
                      </a:stretch>
                    </p:blipFill>
                    <p:spPr>
                      <a:xfrm>
                        <a:off x="6890618" y="1141081"/>
                        <a:ext cx="5124450" cy="4722813"/>
                      </a:xfrm>
                      <a:prstGeom prst="rect">
                        <a:avLst/>
                      </a:prstGeom>
                    </p:spPr>
                  </p:pic>
                </p:oleObj>
              </mc:Fallback>
            </mc:AlternateContent>
          </a:graphicData>
        </a:graphic>
      </p:graphicFrame>
      <p:sp>
        <p:nvSpPr>
          <p:cNvPr id="2" name="Content Placeholder 10">
            <a:extLst>
              <a:ext uri="{FF2B5EF4-FFF2-40B4-BE49-F238E27FC236}">
                <a16:creationId xmlns:a16="http://schemas.microsoft.com/office/drawing/2014/main" id="{ECC065FC-BEF1-545D-1F75-BD17E2EAC35D}"/>
              </a:ext>
            </a:extLst>
          </p:cNvPr>
          <p:cNvSpPr txBox="1">
            <a:spLocks/>
          </p:cNvSpPr>
          <p:nvPr/>
        </p:nvSpPr>
        <p:spPr>
          <a:xfrm>
            <a:off x="893322" y="6305846"/>
            <a:ext cx="4992316"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a:t>There are a wide range of tariff outcomes for different countries…</a:t>
            </a:r>
          </a:p>
        </p:txBody>
      </p:sp>
      <p:sp>
        <p:nvSpPr>
          <p:cNvPr id="4" name="Content Placeholder 10">
            <a:extLst>
              <a:ext uri="{FF2B5EF4-FFF2-40B4-BE49-F238E27FC236}">
                <a16:creationId xmlns:a16="http://schemas.microsoft.com/office/drawing/2014/main" id="{8E2AE8B8-1793-9ADE-4316-DEFE422080A8}"/>
              </a:ext>
            </a:extLst>
          </p:cNvPr>
          <p:cNvSpPr txBox="1">
            <a:spLocks/>
          </p:cNvSpPr>
          <p:nvPr/>
        </p:nvSpPr>
        <p:spPr>
          <a:xfrm>
            <a:off x="6523675" y="6305846"/>
            <a:ext cx="5491393"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a:t>…but all the measures have the same effect on prices paid by US consumers</a:t>
            </a:r>
          </a:p>
        </p:txBody>
      </p:sp>
    </p:spTree>
    <p:extLst>
      <p:ext uri="{BB962C8B-B14F-4D97-AF65-F5344CB8AC3E}">
        <p14:creationId xmlns:p14="http://schemas.microsoft.com/office/powerpoint/2010/main" val="318015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96C982-3A81-D8E7-E42C-1CDB0B046B3A}"/>
              </a:ext>
            </a:extLst>
          </p:cNvPr>
          <p:cNvSpPr>
            <a:spLocks noGrp="1"/>
          </p:cNvSpPr>
          <p:nvPr>
            <p:ph type="title"/>
          </p:nvPr>
        </p:nvSpPr>
        <p:spPr>
          <a:xfrm>
            <a:off x="696912" y="117426"/>
            <a:ext cx="10801350" cy="576264"/>
          </a:xfrm>
        </p:spPr>
        <p:txBody>
          <a:bodyPr/>
          <a:lstStyle/>
          <a:p>
            <a:r>
              <a:rPr lang="en-AU" dirty="0"/>
              <a:t>US trade policy – Impact on US economy</a:t>
            </a:r>
          </a:p>
        </p:txBody>
      </p:sp>
      <p:sp>
        <p:nvSpPr>
          <p:cNvPr id="17" name="Slide Number Placeholder 16">
            <a:extLst>
              <a:ext uri="{FF2B5EF4-FFF2-40B4-BE49-F238E27FC236}">
                <a16:creationId xmlns:a16="http://schemas.microsoft.com/office/drawing/2014/main" id="{A22BE479-268D-2AE7-D21B-7087D6ECFF17}"/>
              </a:ext>
            </a:extLst>
          </p:cNvPr>
          <p:cNvSpPr>
            <a:spLocks noGrp="1"/>
          </p:cNvSpPr>
          <p:nvPr>
            <p:ph type="sldNum" sz="quarter" idx="16"/>
          </p:nvPr>
        </p:nvSpPr>
        <p:spPr/>
        <p:txBody>
          <a:bodyPr/>
          <a:lstStyle/>
          <a:p>
            <a:fld id="{E917DE0E-AFB1-41FD-BC35-27DB61CA125F}" type="slidenum">
              <a:rPr lang="en-AU" smtClean="0"/>
              <a:pPr/>
              <a:t>5</a:t>
            </a:fld>
            <a:endParaRPr lang="en-AU"/>
          </a:p>
        </p:txBody>
      </p:sp>
      <p:sp>
        <p:nvSpPr>
          <p:cNvPr id="4" name="Content Placeholder 10">
            <a:extLst>
              <a:ext uri="{FF2B5EF4-FFF2-40B4-BE49-F238E27FC236}">
                <a16:creationId xmlns:a16="http://schemas.microsoft.com/office/drawing/2014/main" id="{C782D7D3-0870-9EA0-1DCB-5C58D1E81441}"/>
              </a:ext>
            </a:extLst>
          </p:cNvPr>
          <p:cNvSpPr txBox="1">
            <a:spLocks/>
          </p:cNvSpPr>
          <p:nvPr/>
        </p:nvSpPr>
        <p:spPr>
          <a:xfrm>
            <a:off x="2209155" y="6064136"/>
            <a:ext cx="4992316"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a:t>US jobs growth has slowed markedly…</a:t>
            </a:r>
          </a:p>
        </p:txBody>
      </p:sp>
      <p:sp>
        <p:nvSpPr>
          <p:cNvPr id="5" name="Content Placeholder 10">
            <a:extLst>
              <a:ext uri="{FF2B5EF4-FFF2-40B4-BE49-F238E27FC236}">
                <a16:creationId xmlns:a16="http://schemas.microsoft.com/office/drawing/2014/main" id="{6991F37B-FBCB-ADC5-AEA6-4F7408E168DF}"/>
              </a:ext>
            </a:extLst>
          </p:cNvPr>
          <p:cNvSpPr txBox="1">
            <a:spLocks/>
          </p:cNvSpPr>
          <p:nvPr/>
        </p:nvSpPr>
        <p:spPr>
          <a:xfrm>
            <a:off x="7897787" y="6058438"/>
            <a:ext cx="4992316"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a:t>…while US CPI is uncomfortably high</a:t>
            </a:r>
          </a:p>
        </p:txBody>
      </p:sp>
      <p:graphicFrame>
        <p:nvGraphicFramePr>
          <p:cNvPr id="6" name="Object 5">
            <a:extLst>
              <a:ext uri="{FF2B5EF4-FFF2-40B4-BE49-F238E27FC236}">
                <a16:creationId xmlns:a16="http://schemas.microsoft.com/office/drawing/2014/main" id="{EA353152-87E2-1794-0CB9-877CD19FAE2A}"/>
              </a:ext>
            </a:extLst>
          </p:cNvPr>
          <p:cNvGraphicFramePr>
            <a:graphicFrameLocks noChangeAspect="1"/>
          </p:cNvGraphicFramePr>
          <p:nvPr>
            <p:extLst>
              <p:ext uri="{D42A27DB-BD31-4B8C-83A1-F6EECF244321}">
                <p14:modId xmlns:p14="http://schemas.microsoft.com/office/powerpoint/2010/main" val="2433117357"/>
              </p:ext>
            </p:extLst>
          </p:nvPr>
        </p:nvGraphicFramePr>
        <p:xfrm>
          <a:off x="696912" y="906463"/>
          <a:ext cx="5124450" cy="4722813"/>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6" name="Object 5">
                        <a:extLst>
                          <a:ext uri="{FF2B5EF4-FFF2-40B4-BE49-F238E27FC236}">
                            <a16:creationId xmlns:a16="http://schemas.microsoft.com/office/drawing/2014/main" id="{EA353152-87E2-1794-0CB9-877CD19FAE2A}"/>
                          </a:ext>
                        </a:extLst>
                      </p:cNvPr>
                      <p:cNvPicPr/>
                      <p:nvPr/>
                    </p:nvPicPr>
                    <p:blipFill>
                      <a:blip r:embed="rId4"/>
                      <a:stretch>
                        <a:fillRect/>
                      </a:stretch>
                    </p:blipFill>
                    <p:spPr>
                      <a:xfrm>
                        <a:off x="696912" y="906463"/>
                        <a:ext cx="5124450" cy="4722813"/>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9A0C470B-2B52-BDCB-9591-1FB619F0C3D4}"/>
              </a:ext>
            </a:extLst>
          </p:cNvPr>
          <p:cNvGraphicFramePr>
            <a:graphicFrameLocks noChangeAspect="1"/>
          </p:cNvGraphicFramePr>
          <p:nvPr>
            <p:extLst>
              <p:ext uri="{D42A27DB-BD31-4B8C-83A1-F6EECF244321}">
                <p14:modId xmlns:p14="http://schemas.microsoft.com/office/powerpoint/2010/main" val="3644427541"/>
              </p:ext>
            </p:extLst>
          </p:nvPr>
        </p:nvGraphicFramePr>
        <p:xfrm>
          <a:off x="6526225" y="906463"/>
          <a:ext cx="5124450" cy="4722813"/>
        </p:xfrm>
        <a:graphic>
          <a:graphicData uri="http://schemas.openxmlformats.org/presentationml/2006/ole">
            <mc:AlternateContent xmlns:mc="http://schemas.openxmlformats.org/markup-compatibility/2006">
              <mc:Choice xmlns:v="urn:schemas-microsoft-com:vml" Requires="v">
                <p:oleObj name="Macrobond document" r:id="rId5" imgW="5123742" imgH="4723318" progId="Mbnd.mbnd">
                  <p:embed/>
                </p:oleObj>
              </mc:Choice>
              <mc:Fallback>
                <p:oleObj name="Macrobond document" r:id="rId5" imgW="5123742" imgH="4723318" progId="Mbnd.mbnd">
                  <p:embed/>
                  <p:pic>
                    <p:nvPicPr>
                      <p:cNvPr id="7" name="Object 6">
                        <a:extLst>
                          <a:ext uri="{FF2B5EF4-FFF2-40B4-BE49-F238E27FC236}">
                            <a16:creationId xmlns:a16="http://schemas.microsoft.com/office/drawing/2014/main" id="{9A0C470B-2B52-BDCB-9591-1FB619F0C3D4}"/>
                          </a:ext>
                        </a:extLst>
                      </p:cNvPr>
                      <p:cNvPicPr/>
                      <p:nvPr/>
                    </p:nvPicPr>
                    <p:blipFill>
                      <a:blip r:embed="rId6"/>
                      <a:stretch>
                        <a:fillRect/>
                      </a:stretch>
                    </p:blipFill>
                    <p:spPr>
                      <a:xfrm>
                        <a:off x="6526225" y="906463"/>
                        <a:ext cx="5124450" cy="4722813"/>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FE15F1BD-70BE-C6AC-8C76-D9CC09AC6656}"/>
              </a:ext>
            </a:extLst>
          </p:cNvPr>
          <p:cNvSpPr txBox="1"/>
          <p:nvPr/>
        </p:nvSpPr>
        <p:spPr>
          <a:xfrm>
            <a:off x="12278302" y="1983179"/>
            <a:ext cx="2197719" cy="2769989"/>
          </a:xfrm>
          <a:prstGeom prst="rect">
            <a:avLst/>
          </a:prstGeom>
          <a:solidFill>
            <a:schemeClr val="bg1"/>
          </a:solidFill>
        </p:spPr>
        <p:txBody>
          <a:bodyPr wrap="square" rtlCol="0">
            <a:spAutoFit/>
          </a:bodyPr>
          <a:lstStyle/>
          <a:p>
            <a:r>
              <a:rPr lang="en-AU" sz="1800" dirty="0">
                <a:solidFill>
                  <a:schemeClr val="accent1">
                    <a:lumMod val="75000"/>
                  </a:schemeClr>
                </a:solidFill>
              </a:rPr>
              <a:t>How much has US raised from tariffs?</a:t>
            </a:r>
          </a:p>
          <a:p>
            <a:r>
              <a:rPr lang="en-AU" sz="1800" dirty="0">
                <a:solidFill>
                  <a:schemeClr val="accent1">
                    <a:lumMod val="75000"/>
                  </a:schemeClr>
                </a:solidFill>
              </a:rPr>
              <a:t>Has trade in some industries been diverted?</a:t>
            </a:r>
          </a:p>
          <a:p>
            <a:r>
              <a:rPr lang="en-AU" sz="1800" dirty="0">
                <a:solidFill>
                  <a:schemeClr val="accent1">
                    <a:lumMod val="75000"/>
                  </a:schemeClr>
                </a:solidFill>
              </a:rPr>
              <a:t>How much are tariffs impacting US inflation?</a:t>
            </a:r>
          </a:p>
        </p:txBody>
      </p:sp>
    </p:spTree>
    <p:extLst>
      <p:ext uri="{BB962C8B-B14F-4D97-AF65-F5344CB8AC3E}">
        <p14:creationId xmlns:p14="http://schemas.microsoft.com/office/powerpoint/2010/main" val="224401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C064BE-85BD-3F4A-793B-81BF1313AB1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27A769E-477C-EC16-189E-5A829D80CC18}"/>
              </a:ext>
            </a:extLst>
          </p:cNvPr>
          <p:cNvSpPr>
            <a:spLocks noGrp="1"/>
          </p:cNvSpPr>
          <p:nvPr>
            <p:ph type="title"/>
          </p:nvPr>
        </p:nvSpPr>
        <p:spPr>
          <a:xfrm>
            <a:off x="696912" y="-19533"/>
            <a:ext cx="10801350" cy="576264"/>
          </a:xfrm>
        </p:spPr>
        <p:txBody>
          <a:bodyPr/>
          <a:lstStyle/>
          <a:p>
            <a:r>
              <a:rPr lang="en-AU" dirty="0"/>
              <a:t>US trade policy – What does an adverse trade shock look like?</a:t>
            </a:r>
          </a:p>
        </p:txBody>
      </p:sp>
      <p:sp>
        <p:nvSpPr>
          <p:cNvPr id="17" name="Slide Number Placeholder 16">
            <a:extLst>
              <a:ext uri="{FF2B5EF4-FFF2-40B4-BE49-F238E27FC236}">
                <a16:creationId xmlns:a16="http://schemas.microsoft.com/office/drawing/2014/main" id="{6B8F1C24-9597-6657-05EA-18A693D31F65}"/>
              </a:ext>
            </a:extLst>
          </p:cNvPr>
          <p:cNvSpPr>
            <a:spLocks noGrp="1"/>
          </p:cNvSpPr>
          <p:nvPr>
            <p:ph type="sldNum" sz="quarter" idx="16"/>
          </p:nvPr>
        </p:nvSpPr>
        <p:spPr/>
        <p:txBody>
          <a:bodyPr/>
          <a:lstStyle/>
          <a:p>
            <a:fld id="{E917DE0E-AFB1-41FD-BC35-27DB61CA125F}" type="slidenum">
              <a:rPr lang="en-AU" smtClean="0"/>
              <a:pPr/>
              <a:t>6</a:t>
            </a:fld>
            <a:endParaRPr lang="en-AU"/>
          </a:p>
        </p:txBody>
      </p:sp>
      <p:sp>
        <p:nvSpPr>
          <p:cNvPr id="2" name="Content Placeholder 10">
            <a:extLst>
              <a:ext uri="{FF2B5EF4-FFF2-40B4-BE49-F238E27FC236}">
                <a16:creationId xmlns:a16="http://schemas.microsoft.com/office/drawing/2014/main" id="{41EFA522-D538-5492-1463-6FA1718D57C0}"/>
              </a:ext>
            </a:extLst>
          </p:cNvPr>
          <p:cNvSpPr txBox="1">
            <a:spLocks/>
          </p:cNvSpPr>
          <p:nvPr/>
        </p:nvSpPr>
        <p:spPr>
          <a:xfrm>
            <a:off x="6418634" y="6517072"/>
            <a:ext cx="4992316" cy="450607"/>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sz="1000" dirty="0"/>
              <a:t>Source: Oxford Economics </a:t>
            </a:r>
          </a:p>
        </p:txBody>
      </p:sp>
      <p:sp>
        <p:nvSpPr>
          <p:cNvPr id="4" name="Content Placeholder 10">
            <a:extLst>
              <a:ext uri="{FF2B5EF4-FFF2-40B4-BE49-F238E27FC236}">
                <a16:creationId xmlns:a16="http://schemas.microsoft.com/office/drawing/2014/main" id="{5414799E-A23C-7286-1FB2-A798D1977599}"/>
              </a:ext>
            </a:extLst>
          </p:cNvPr>
          <p:cNvSpPr txBox="1">
            <a:spLocks/>
          </p:cNvSpPr>
          <p:nvPr/>
        </p:nvSpPr>
        <p:spPr>
          <a:xfrm>
            <a:off x="6421037" y="3729498"/>
            <a:ext cx="5491393" cy="2799742"/>
          </a:xfrm>
          <a:prstGeom prst="rect">
            <a:avLst/>
          </a:prstGeom>
          <a:solidFill>
            <a:schemeClr val="accent1">
              <a:lumMod val="40000"/>
              <a:lumOff val="60000"/>
              <a:alpha val="70000"/>
            </a:schemeClr>
          </a:solidFill>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pPr>
              <a:spcBef>
                <a:spcPts val="0"/>
              </a:spcBef>
              <a:spcAft>
                <a:spcPts val="0"/>
              </a:spcAft>
            </a:pPr>
            <a:r>
              <a:rPr lang="en-US" b="1"/>
              <a:t> Scenario</a:t>
            </a:r>
          </a:p>
          <a:p>
            <a:pPr marL="285750" indent="-285750">
              <a:spcBef>
                <a:spcPts val="0"/>
              </a:spcBef>
              <a:spcAft>
                <a:spcPts val="0"/>
              </a:spcAft>
              <a:buClr>
                <a:schemeClr val="tx2"/>
              </a:buClr>
              <a:buFont typeface="Wingdings" panose="05000000000000000000" pitchFamily="2" charset="2"/>
              <a:buChar char="§"/>
            </a:pPr>
            <a:r>
              <a:rPr lang="en-US"/>
              <a:t>The US removes key tariff exemptions and raises tariffs again. Such that effective tariff rate rises to 34% by Q4 2025 (2x baseline). China faces an effective tariff rate of over 120%. Affected economies retaliate.</a:t>
            </a:r>
          </a:p>
          <a:p>
            <a:pPr marL="285750" indent="-285750">
              <a:spcBef>
                <a:spcPts val="0"/>
              </a:spcBef>
              <a:spcAft>
                <a:spcPts val="0"/>
              </a:spcAft>
              <a:buClr>
                <a:schemeClr val="tx2"/>
              </a:buClr>
              <a:buFont typeface="Wingdings" panose="05000000000000000000" pitchFamily="2" charset="2"/>
              <a:buChar char="§"/>
            </a:pPr>
            <a:endParaRPr lang="en-US"/>
          </a:p>
          <a:p>
            <a:pPr>
              <a:spcBef>
                <a:spcPts val="0"/>
              </a:spcBef>
              <a:spcAft>
                <a:spcPts val="0"/>
              </a:spcAft>
            </a:pPr>
            <a:r>
              <a:rPr lang="en-US" b="1"/>
              <a:t> Impacts</a:t>
            </a:r>
          </a:p>
          <a:p>
            <a:pPr marL="285750" indent="-285750">
              <a:spcBef>
                <a:spcPts val="0"/>
              </a:spcBef>
              <a:spcAft>
                <a:spcPts val="0"/>
              </a:spcAft>
              <a:buClr>
                <a:schemeClr val="tx2"/>
              </a:buClr>
              <a:buFont typeface="Wingdings" panose="05000000000000000000" pitchFamily="2" charset="2"/>
              <a:buChar char="§"/>
            </a:pPr>
            <a:r>
              <a:rPr lang="en-US"/>
              <a:t>The US economy contracts in late 2025 and 2026 given supply chain disruptions (as bad as 2021) and lower investment. World trade contracts and is still ~10% below baseline by end of the decade.</a:t>
            </a:r>
          </a:p>
          <a:p>
            <a:pPr marL="285750" indent="-285750">
              <a:spcBef>
                <a:spcPts val="0"/>
              </a:spcBef>
              <a:spcAft>
                <a:spcPts val="0"/>
              </a:spcAft>
              <a:buClr>
                <a:schemeClr val="tx2"/>
              </a:buClr>
              <a:buFont typeface="Wingdings" panose="05000000000000000000" pitchFamily="2" charset="2"/>
              <a:buChar char="§"/>
            </a:pPr>
            <a:r>
              <a:rPr lang="en-US"/>
              <a:t>Global growth slows to 0.7% in 2026</a:t>
            </a:r>
          </a:p>
          <a:p>
            <a:pPr marL="285750" indent="-285750">
              <a:spcBef>
                <a:spcPts val="0"/>
              </a:spcBef>
              <a:spcAft>
                <a:spcPts val="0"/>
              </a:spcAft>
              <a:buClr>
                <a:schemeClr val="tx2"/>
              </a:buClr>
              <a:buFont typeface="Wingdings" panose="05000000000000000000" pitchFamily="2" charset="2"/>
              <a:buChar char="§"/>
            </a:pPr>
            <a:r>
              <a:rPr lang="en-US"/>
              <a:t>Higher inflation initially delays US  rate cuts, but policy rates then fall sharply, to below 1.5% in 2027. </a:t>
            </a:r>
          </a:p>
          <a:p>
            <a:pPr marL="285750" indent="-285750">
              <a:spcBef>
                <a:spcPts val="0"/>
              </a:spcBef>
              <a:spcAft>
                <a:spcPts val="0"/>
              </a:spcAft>
              <a:buClr>
                <a:schemeClr val="tx2"/>
              </a:buClr>
              <a:buFont typeface="Wingdings" panose="05000000000000000000" pitchFamily="2" charset="2"/>
              <a:buChar char="§"/>
            </a:pPr>
            <a:r>
              <a:rPr lang="en-US"/>
              <a:t>Oil prices fall 20% below baseline by end-2026. </a:t>
            </a:r>
            <a:endParaRPr lang="en-AU"/>
          </a:p>
        </p:txBody>
      </p:sp>
      <p:pic>
        <p:nvPicPr>
          <p:cNvPr id="13" name="Picture 12">
            <a:extLst>
              <a:ext uri="{FF2B5EF4-FFF2-40B4-BE49-F238E27FC236}">
                <a16:creationId xmlns:a16="http://schemas.microsoft.com/office/drawing/2014/main" id="{444719EC-768E-8264-4E4D-DC3918EDEFA8}"/>
              </a:ext>
            </a:extLst>
          </p:cNvPr>
          <p:cNvPicPr>
            <a:picLocks noChangeAspect="1"/>
          </p:cNvPicPr>
          <p:nvPr/>
        </p:nvPicPr>
        <p:blipFill>
          <a:blip r:embed="rId3"/>
          <a:stretch>
            <a:fillRect/>
          </a:stretch>
        </p:blipFill>
        <p:spPr>
          <a:xfrm>
            <a:off x="465355" y="3863568"/>
            <a:ext cx="2676899" cy="2486372"/>
          </a:xfrm>
          <a:prstGeom prst="rect">
            <a:avLst/>
          </a:prstGeom>
        </p:spPr>
      </p:pic>
      <p:sp>
        <p:nvSpPr>
          <p:cNvPr id="14" name="TextBox 13">
            <a:extLst>
              <a:ext uri="{FF2B5EF4-FFF2-40B4-BE49-F238E27FC236}">
                <a16:creationId xmlns:a16="http://schemas.microsoft.com/office/drawing/2014/main" id="{B82CDF9C-8032-7742-C1C5-0301D67C8E13}"/>
              </a:ext>
            </a:extLst>
          </p:cNvPr>
          <p:cNvSpPr txBox="1"/>
          <p:nvPr/>
        </p:nvSpPr>
        <p:spPr>
          <a:xfrm>
            <a:off x="872343" y="3622247"/>
            <a:ext cx="3410712" cy="276999"/>
          </a:xfrm>
          <a:prstGeom prst="rect">
            <a:avLst/>
          </a:prstGeom>
          <a:noFill/>
        </p:spPr>
        <p:txBody>
          <a:bodyPr wrap="square" rtlCol="0">
            <a:spAutoFit/>
          </a:bodyPr>
          <a:lstStyle/>
          <a:p>
            <a:r>
              <a:rPr lang="en-AU" sz="1200" b="1">
                <a:solidFill>
                  <a:schemeClr val="accent1"/>
                </a:solidFill>
              </a:rPr>
              <a:t>Global</a:t>
            </a:r>
            <a:r>
              <a:rPr lang="en-AU" sz="1200" b="1"/>
              <a:t> real GDP (US$, </a:t>
            </a:r>
            <a:r>
              <a:rPr lang="en-AU" sz="1200" b="1" err="1"/>
              <a:t>yoy</a:t>
            </a:r>
            <a:r>
              <a:rPr lang="en-AU" sz="1200" b="1"/>
              <a:t>, %)</a:t>
            </a:r>
          </a:p>
        </p:txBody>
      </p:sp>
      <p:pic>
        <p:nvPicPr>
          <p:cNvPr id="16" name="Picture 15">
            <a:extLst>
              <a:ext uri="{FF2B5EF4-FFF2-40B4-BE49-F238E27FC236}">
                <a16:creationId xmlns:a16="http://schemas.microsoft.com/office/drawing/2014/main" id="{DD7F3FF9-B405-FC71-C3DF-72334C842C1D}"/>
              </a:ext>
            </a:extLst>
          </p:cNvPr>
          <p:cNvPicPr>
            <a:picLocks noChangeAspect="1"/>
          </p:cNvPicPr>
          <p:nvPr/>
        </p:nvPicPr>
        <p:blipFill>
          <a:blip r:embed="rId4"/>
          <a:stretch>
            <a:fillRect/>
          </a:stretch>
        </p:blipFill>
        <p:spPr>
          <a:xfrm>
            <a:off x="242181" y="853263"/>
            <a:ext cx="2781688" cy="2495898"/>
          </a:xfrm>
          <a:prstGeom prst="rect">
            <a:avLst/>
          </a:prstGeom>
        </p:spPr>
      </p:pic>
      <p:sp>
        <p:nvSpPr>
          <p:cNvPr id="18" name="TextBox 17">
            <a:extLst>
              <a:ext uri="{FF2B5EF4-FFF2-40B4-BE49-F238E27FC236}">
                <a16:creationId xmlns:a16="http://schemas.microsoft.com/office/drawing/2014/main" id="{7AF82158-974C-8CFC-9C84-3A5D8D2A8E78}"/>
              </a:ext>
            </a:extLst>
          </p:cNvPr>
          <p:cNvSpPr txBox="1"/>
          <p:nvPr/>
        </p:nvSpPr>
        <p:spPr>
          <a:xfrm>
            <a:off x="872343" y="567927"/>
            <a:ext cx="3410712" cy="276999"/>
          </a:xfrm>
          <a:prstGeom prst="rect">
            <a:avLst/>
          </a:prstGeom>
          <a:noFill/>
        </p:spPr>
        <p:txBody>
          <a:bodyPr wrap="square" rtlCol="0">
            <a:spAutoFit/>
          </a:bodyPr>
          <a:lstStyle/>
          <a:p>
            <a:r>
              <a:rPr lang="en-AU" sz="1200" b="1">
                <a:solidFill>
                  <a:schemeClr val="accent1"/>
                </a:solidFill>
              </a:rPr>
              <a:t>China</a:t>
            </a:r>
            <a:r>
              <a:rPr lang="en-AU" sz="1200" b="1"/>
              <a:t> real GDP (CNY, </a:t>
            </a:r>
            <a:r>
              <a:rPr lang="en-AU" sz="1200" b="1" err="1"/>
              <a:t>yoy</a:t>
            </a:r>
            <a:r>
              <a:rPr lang="en-AU" sz="1200" b="1"/>
              <a:t>, %)</a:t>
            </a:r>
          </a:p>
        </p:txBody>
      </p:sp>
      <p:pic>
        <p:nvPicPr>
          <p:cNvPr id="20" name="Picture 19">
            <a:extLst>
              <a:ext uri="{FF2B5EF4-FFF2-40B4-BE49-F238E27FC236}">
                <a16:creationId xmlns:a16="http://schemas.microsoft.com/office/drawing/2014/main" id="{DB5C2847-ED81-90FF-E4FD-3E9DDF1F9EF3}"/>
              </a:ext>
            </a:extLst>
          </p:cNvPr>
          <p:cNvPicPr>
            <a:picLocks noChangeAspect="1"/>
          </p:cNvPicPr>
          <p:nvPr/>
        </p:nvPicPr>
        <p:blipFill>
          <a:blip r:embed="rId5"/>
          <a:stretch>
            <a:fillRect/>
          </a:stretch>
        </p:blipFill>
        <p:spPr>
          <a:xfrm>
            <a:off x="6155659" y="850493"/>
            <a:ext cx="2695951" cy="2505425"/>
          </a:xfrm>
          <a:prstGeom prst="rect">
            <a:avLst/>
          </a:prstGeom>
        </p:spPr>
      </p:pic>
      <p:sp>
        <p:nvSpPr>
          <p:cNvPr id="21" name="TextBox 20">
            <a:extLst>
              <a:ext uri="{FF2B5EF4-FFF2-40B4-BE49-F238E27FC236}">
                <a16:creationId xmlns:a16="http://schemas.microsoft.com/office/drawing/2014/main" id="{1CD5202D-1D73-ED04-8656-F635F614532D}"/>
              </a:ext>
            </a:extLst>
          </p:cNvPr>
          <p:cNvSpPr txBox="1"/>
          <p:nvPr/>
        </p:nvSpPr>
        <p:spPr>
          <a:xfrm>
            <a:off x="6719159" y="566688"/>
            <a:ext cx="3410712" cy="276999"/>
          </a:xfrm>
          <a:prstGeom prst="rect">
            <a:avLst/>
          </a:prstGeom>
          <a:noFill/>
        </p:spPr>
        <p:txBody>
          <a:bodyPr wrap="square" rtlCol="0">
            <a:spAutoFit/>
          </a:bodyPr>
          <a:lstStyle/>
          <a:p>
            <a:r>
              <a:rPr lang="en-AU" sz="1200" b="1">
                <a:solidFill>
                  <a:schemeClr val="accent1"/>
                </a:solidFill>
              </a:rPr>
              <a:t>Japan </a:t>
            </a:r>
            <a:r>
              <a:rPr lang="en-AU" sz="1200" b="1"/>
              <a:t>real GDP (JPY, </a:t>
            </a:r>
            <a:r>
              <a:rPr lang="en-AU" sz="1200" b="1" err="1"/>
              <a:t>yoy</a:t>
            </a:r>
            <a:r>
              <a:rPr lang="en-AU" sz="1200" b="1"/>
              <a:t>, %)</a:t>
            </a:r>
          </a:p>
        </p:txBody>
      </p:sp>
      <p:sp>
        <p:nvSpPr>
          <p:cNvPr id="22" name="TextBox 21">
            <a:extLst>
              <a:ext uri="{FF2B5EF4-FFF2-40B4-BE49-F238E27FC236}">
                <a16:creationId xmlns:a16="http://schemas.microsoft.com/office/drawing/2014/main" id="{58F9002A-E94D-1AC8-74DC-09AEE0C82CAF}"/>
              </a:ext>
            </a:extLst>
          </p:cNvPr>
          <p:cNvSpPr txBox="1"/>
          <p:nvPr/>
        </p:nvSpPr>
        <p:spPr>
          <a:xfrm>
            <a:off x="3795751" y="566689"/>
            <a:ext cx="3410712" cy="276999"/>
          </a:xfrm>
          <a:prstGeom prst="rect">
            <a:avLst/>
          </a:prstGeom>
          <a:noFill/>
        </p:spPr>
        <p:txBody>
          <a:bodyPr wrap="square" rtlCol="0">
            <a:spAutoFit/>
          </a:bodyPr>
          <a:lstStyle/>
          <a:p>
            <a:r>
              <a:rPr lang="en-AU" sz="1200" b="1">
                <a:solidFill>
                  <a:schemeClr val="accent1"/>
                </a:solidFill>
              </a:rPr>
              <a:t>Korean </a:t>
            </a:r>
            <a:r>
              <a:rPr lang="en-AU" sz="1200" b="1"/>
              <a:t>real GDP (JPY, </a:t>
            </a:r>
            <a:r>
              <a:rPr lang="en-AU" sz="1200" b="1" err="1"/>
              <a:t>yoy</a:t>
            </a:r>
            <a:r>
              <a:rPr lang="en-AU" sz="1200" b="1"/>
              <a:t>, %)</a:t>
            </a:r>
          </a:p>
        </p:txBody>
      </p:sp>
      <p:sp>
        <p:nvSpPr>
          <p:cNvPr id="23" name="TextBox 22">
            <a:extLst>
              <a:ext uri="{FF2B5EF4-FFF2-40B4-BE49-F238E27FC236}">
                <a16:creationId xmlns:a16="http://schemas.microsoft.com/office/drawing/2014/main" id="{A8E11EA2-5BE4-98FE-0873-76FD487564D2}"/>
              </a:ext>
            </a:extLst>
          </p:cNvPr>
          <p:cNvSpPr txBox="1"/>
          <p:nvPr/>
        </p:nvSpPr>
        <p:spPr>
          <a:xfrm>
            <a:off x="9478394" y="576263"/>
            <a:ext cx="3410712" cy="276999"/>
          </a:xfrm>
          <a:prstGeom prst="rect">
            <a:avLst/>
          </a:prstGeom>
          <a:noFill/>
        </p:spPr>
        <p:txBody>
          <a:bodyPr wrap="square" rtlCol="0">
            <a:spAutoFit/>
          </a:bodyPr>
          <a:lstStyle/>
          <a:p>
            <a:r>
              <a:rPr lang="en-AU" sz="1200" b="1">
                <a:solidFill>
                  <a:schemeClr val="accent1"/>
                </a:solidFill>
              </a:rPr>
              <a:t>US </a:t>
            </a:r>
            <a:r>
              <a:rPr lang="en-AU" sz="1200" b="1"/>
              <a:t>real GDP (JPY, </a:t>
            </a:r>
            <a:r>
              <a:rPr lang="en-AU" sz="1200" b="1" err="1"/>
              <a:t>yoy</a:t>
            </a:r>
            <a:r>
              <a:rPr lang="en-AU" sz="1200" b="1"/>
              <a:t>, %)</a:t>
            </a:r>
          </a:p>
        </p:txBody>
      </p:sp>
      <p:pic>
        <p:nvPicPr>
          <p:cNvPr id="27" name="Picture 26">
            <a:extLst>
              <a:ext uri="{FF2B5EF4-FFF2-40B4-BE49-F238E27FC236}">
                <a16:creationId xmlns:a16="http://schemas.microsoft.com/office/drawing/2014/main" id="{5297E40B-6567-856D-4AEA-891A1EBB4768}"/>
              </a:ext>
            </a:extLst>
          </p:cNvPr>
          <p:cNvPicPr>
            <a:picLocks noChangeAspect="1"/>
          </p:cNvPicPr>
          <p:nvPr/>
        </p:nvPicPr>
        <p:blipFill>
          <a:blip r:embed="rId6"/>
          <a:stretch>
            <a:fillRect/>
          </a:stretch>
        </p:blipFill>
        <p:spPr>
          <a:xfrm>
            <a:off x="2862907" y="694977"/>
            <a:ext cx="3077004" cy="2648320"/>
          </a:xfrm>
          <a:prstGeom prst="rect">
            <a:avLst/>
          </a:prstGeom>
        </p:spPr>
      </p:pic>
      <p:pic>
        <p:nvPicPr>
          <p:cNvPr id="31" name="Picture 30">
            <a:extLst>
              <a:ext uri="{FF2B5EF4-FFF2-40B4-BE49-F238E27FC236}">
                <a16:creationId xmlns:a16="http://schemas.microsoft.com/office/drawing/2014/main" id="{77B523B8-AB98-52CC-BDA2-4803B5ADE9B5}"/>
              </a:ext>
            </a:extLst>
          </p:cNvPr>
          <p:cNvPicPr>
            <a:picLocks noChangeAspect="1"/>
          </p:cNvPicPr>
          <p:nvPr/>
        </p:nvPicPr>
        <p:blipFill>
          <a:blip r:embed="rId7"/>
          <a:stretch>
            <a:fillRect/>
          </a:stretch>
        </p:blipFill>
        <p:spPr>
          <a:xfrm>
            <a:off x="8972027" y="844926"/>
            <a:ext cx="2772162" cy="2486372"/>
          </a:xfrm>
          <a:prstGeom prst="rect">
            <a:avLst/>
          </a:prstGeom>
        </p:spPr>
      </p:pic>
      <p:sp>
        <p:nvSpPr>
          <p:cNvPr id="33" name="TextBox 32">
            <a:extLst>
              <a:ext uri="{FF2B5EF4-FFF2-40B4-BE49-F238E27FC236}">
                <a16:creationId xmlns:a16="http://schemas.microsoft.com/office/drawing/2014/main" id="{DE6700F4-FDE4-7007-252D-B1BA7B16E72F}"/>
              </a:ext>
            </a:extLst>
          </p:cNvPr>
          <p:cNvSpPr txBox="1"/>
          <p:nvPr/>
        </p:nvSpPr>
        <p:spPr>
          <a:xfrm>
            <a:off x="3795751" y="3620296"/>
            <a:ext cx="3410712" cy="276999"/>
          </a:xfrm>
          <a:prstGeom prst="rect">
            <a:avLst/>
          </a:prstGeom>
          <a:noFill/>
        </p:spPr>
        <p:txBody>
          <a:bodyPr wrap="square" rtlCol="0">
            <a:spAutoFit/>
          </a:bodyPr>
          <a:lstStyle/>
          <a:p>
            <a:r>
              <a:rPr lang="en-AU" sz="1200" b="1">
                <a:solidFill>
                  <a:schemeClr val="accent1"/>
                </a:solidFill>
              </a:rPr>
              <a:t>Australia</a:t>
            </a:r>
            <a:r>
              <a:rPr lang="en-AU" sz="1200" b="1"/>
              <a:t> real GDP (US$, </a:t>
            </a:r>
            <a:r>
              <a:rPr lang="en-AU" sz="1200" b="1" err="1"/>
              <a:t>yoy</a:t>
            </a:r>
            <a:r>
              <a:rPr lang="en-AU" sz="1200" b="1"/>
              <a:t>, %)</a:t>
            </a:r>
          </a:p>
        </p:txBody>
      </p:sp>
      <p:pic>
        <p:nvPicPr>
          <p:cNvPr id="35" name="Picture 34">
            <a:extLst>
              <a:ext uri="{FF2B5EF4-FFF2-40B4-BE49-F238E27FC236}">
                <a16:creationId xmlns:a16="http://schemas.microsoft.com/office/drawing/2014/main" id="{EF60A557-CF86-01F0-0A9A-59E3465B62AE}"/>
              </a:ext>
            </a:extLst>
          </p:cNvPr>
          <p:cNvPicPr>
            <a:picLocks noChangeAspect="1"/>
          </p:cNvPicPr>
          <p:nvPr/>
        </p:nvPicPr>
        <p:blipFill>
          <a:blip r:embed="rId8"/>
          <a:stretch>
            <a:fillRect/>
          </a:stretch>
        </p:blipFill>
        <p:spPr>
          <a:xfrm>
            <a:off x="3378627" y="3897295"/>
            <a:ext cx="2772162" cy="2524477"/>
          </a:xfrm>
          <a:prstGeom prst="rect">
            <a:avLst/>
          </a:prstGeom>
        </p:spPr>
      </p:pic>
      <p:sp>
        <p:nvSpPr>
          <p:cNvPr id="5" name="TextBox 4">
            <a:extLst>
              <a:ext uri="{FF2B5EF4-FFF2-40B4-BE49-F238E27FC236}">
                <a16:creationId xmlns:a16="http://schemas.microsoft.com/office/drawing/2014/main" id="{204A6EE3-3BFE-647C-338C-6F6E838F3399}"/>
              </a:ext>
            </a:extLst>
          </p:cNvPr>
          <p:cNvSpPr txBox="1"/>
          <p:nvPr/>
        </p:nvSpPr>
        <p:spPr>
          <a:xfrm>
            <a:off x="12278302" y="1983179"/>
            <a:ext cx="2031463" cy="3093154"/>
          </a:xfrm>
          <a:prstGeom prst="rect">
            <a:avLst/>
          </a:prstGeom>
          <a:solidFill>
            <a:schemeClr val="bg1"/>
          </a:solidFill>
        </p:spPr>
        <p:txBody>
          <a:bodyPr wrap="square" rtlCol="0">
            <a:spAutoFit/>
          </a:bodyPr>
          <a:lstStyle/>
          <a:p>
            <a:r>
              <a:rPr lang="en-AU" sz="1800" dirty="0">
                <a:solidFill>
                  <a:schemeClr val="accent1">
                    <a:lumMod val="75000"/>
                  </a:schemeClr>
                </a:solidFill>
              </a:rPr>
              <a:t>Use a clear definition of ‘shock’. Pls give some examples of shocks in the past.</a:t>
            </a:r>
          </a:p>
          <a:p>
            <a:r>
              <a:rPr lang="en-AU" sz="1800" dirty="0">
                <a:solidFill>
                  <a:schemeClr val="accent1">
                    <a:lumMod val="75000"/>
                  </a:schemeClr>
                </a:solidFill>
              </a:rPr>
              <a:t>Why is Australia expected to experience less of a shock from US trade policy?</a:t>
            </a:r>
          </a:p>
        </p:txBody>
      </p:sp>
    </p:spTree>
    <p:extLst>
      <p:ext uri="{BB962C8B-B14F-4D97-AF65-F5344CB8AC3E}">
        <p14:creationId xmlns:p14="http://schemas.microsoft.com/office/powerpoint/2010/main" val="251176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792BE-2569-8B07-D1AF-5D10D33461E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7DFFDCA-F203-636E-D995-67839771D442}"/>
              </a:ext>
            </a:extLst>
          </p:cNvPr>
          <p:cNvSpPr>
            <a:spLocks noGrp="1"/>
          </p:cNvSpPr>
          <p:nvPr>
            <p:ph type="title"/>
          </p:nvPr>
        </p:nvSpPr>
        <p:spPr>
          <a:xfrm>
            <a:off x="386016" y="0"/>
            <a:ext cx="10801350" cy="576264"/>
          </a:xfrm>
        </p:spPr>
        <p:txBody>
          <a:bodyPr/>
          <a:lstStyle/>
          <a:p>
            <a:r>
              <a:rPr lang="en-AU" dirty="0"/>
              <a:t>US trade policy – Australia in an adverse trade shock</a:t>
            </a:r>
          </a:p>
        </p:txBody>
      </p:sp>
      <p:sp>
        <p:nvSpPr>
          <p:cNvPr id="17" name="Slide Number Placeholder 16">
            <a:extLst>
              <a:ext uri="{FF2B5EF4-FFF2-40B4-BE49-F238E27FC236}">
                <a16:creationId xmlns:a16="http://schemas.microsoft.com/office/drawing/2014/main" id="{57505551-D7BB-AFAA-D504-6CCE127A38BF}"/>
              </a:ext>
            </a:extLst>
          </p:cNvPr>
          <p:cNvSpPr>
            <a:spLocks noGrp="1"/>
          </p:cNvSpPr>
          <p:nvPr>
            <p:ph type="sldNum" sz="quarter" idx="16"/>
          </p:nvPr>
        </p:nvSpPr>
        <p:spPr/>
        <p:txBody>
          <a:bodyPr/>
          <a:lstStyle/>
          <a:p>
            <a:fld id="{E917DE0E-AFB1-41FD-BC35-27DB61CA125F}" type="slidenum">
              <a:rPr lang="en-AU" smtClean="0"/>
              <a:pPr/>
              <a:t>7</a:t>
            </a:fld>
            <a:endParaRPr lang="en-AU"/>
          </a:p>
        </p:txBody>
      </p:sp>
      <p:sp>
        <p:nvSpPr>
          <p:cNvPr id="2" name="Content Placeholder 10">
            <a:extLst>
              <a:ext uri="{FF2B5EF4-FFF2-40B4-BE49-F238E27FC236}">
                <a16:creationId xmlns:a16="http://schemas.microsoft.com/office/drawing/2014/main" id="{D3549547-65DE-62E5-168C-5E64CF032CF7}"/>
              </a:ext>
            </a:extLst>
          </p:cNvPr>
          <p:cNvSpPr txBox="1">
            <a:spLocks/>
          </p:cNvSpPr>
          <p:nvPr/>
        </p:nvSpPr>
        <p:spPr>
          <a:xfrm>
            <a:off x="696912" y="538565"/>
            <a:ext cx="4992316" cy="161815"/>
          </a:xfrm>
          <a:prstGeom prst="rect">
            <a:avLst/>
          </a:prstGeom>
        </p:spPr>
        <p:txBody>
          <a:bodyPr vert="horz" lIns="0" tIns="0" rIns="0" bIns="0" numCol="1" spcCol="0" rtlCol="0">
            <a:noAutofit/>
          </a:bodyPr>
          <a:lstStyle>
            <a:lvl1pPr marL="0" indent="0" algn="l" defTabSz="1088776" rtl="0" eaLnBrk="1" latinLnBrk="0" hangingPunct="1">
              <a:spcBef>
                <a:spcPts val="1200"/>
              </a:spcBef>
              <a:spcAft>
                <a:spcPts val="600"/>
              </a:spcAft>
              <a:buClr>
                <a:schemeClr val="tx1"/>
              </a:buClr>
              <a:buFont typeface="Arial" pitchFamily="34" charset="0"/>
              <a:buNone/>
              <a:defRPr lang="en-US" sz="1400" b="0" kern="1200" dirty="0" smtClean="0">
                <a:solidFill>
                  <a:schemeClr val="tx1"/>
                </a:solidFill>
                <a:latin typeface="+mn-lt"/>
                <a:ea typeface="+mn-ea"/>
                <a:cs typeface="+mn-cs"/>
              </a:defRPr>
            </a:lvl1pPr>
            <a:lvl2pPr marL="252000" indent="-252000" algn="l" defTabSz="1088776" rtl="0" eaLnBrk="1" latinLnBrk="0" hangingPunct="1">
              <a:spcBef>
                <a:spcPts val="0"/>
              </a:spcBef>
              <a:spcAft>
                <a:spcPts val="800"/>
              </a:spcAft>
              <a:buClr>
                <a:schemeClr val="tx1"/>
              </a:buClr>
              <a:buFont typeface="Wingdings" panose="05000000000000000000" pitchFamily="2" charset="2"/>
              <a:buChar char="§"/>
              <a:defRPr lang="en-US" sz="1400" b="0" kern="1200" dirty="0">
                <a:solidFill>
                  <a:schemeClr val="tx1"/>
                </a:solidFill>
                <a:latin typeface="+mn-lt"/>
                <a:ea typeface="+mn-ea"/>
                <a:cs typeface="+mn-cs"/>
              </a:defRPr>
            </a:lvl2pPr>
            <a:lvl3pPr marL="504000" indent="-252000" algn="l" defTabSz="1088776" rtl="0" eaLnBrk="1" latinLnBrk="0" hangingPunct="1">
              <a:spcBef>
                <a:spcPts val="0"/>
              </a:spcBef>
              <a:spcAft>
                <a:spcPts val="800"/>
              </a:spcAft>
              <a:buClr>
                <a:srgbClr val="7F7F7F"/>
              </a:buClr>
              <a:buFont typeface="Wingdings" panose="05000000000000000000" pitchFamily="2" charset="2"/>
              <a:buChar char="§"/>
              <a:defRPr lang="en-US" sz="1200" b="0" kern="1200" dirty="0">
                <a:solidFill>
                  <a:schemeClr val="tx1"/>
                </a:solidFill>
                <a:latin typeface="+mn-lt"/>
                <a:ea typeface="+mn-ea"/>
                <a:cs typeface="+mn-cs"/>
              </a:defRPr>
            </a:lvl3pPr>
            <a:lvl4pPr marL="0" indent="0" algn="l" defTabSz="1088776" rtl="0" eaLnBrk="1" latinLnBrk="0" hangingPunct="1">
              <a:spcBef>
                <a:spcPts val="600"/>
              </a:spcBef>
              <a:spcAft>
                <a:spcPts val="400"/>
              </a:spcAft>
              <a:buClr>
                <a:schemeClr val="tx1"/>
              </a:buClr>
              <a:buFont typeface="Wingdings" panose="05000000000000000000" pitchFamily="2" charset="2"/>
              <a:buNone/>
              <a:defRPr lang="en-US" sz="1400" kern="1200" baseline="0" dirty="0">
                <a:solidFill>
                  <a:schemeClr val="tx1"/>
                </a:solidFill>
                <a:latin typeface="+mj-lt"/>
                <a:ea typeface="+mn-ea"/>
                <a:cs typeface="+mn-cs"/>
              </a:defRPr>
            </a:lvl4pPr>
            <a:lvl5pPr marL="0" marR="0" indent="0" algn="l" defTabSz="1088776" rtl="0" eaLnBrk="1" fontAlgn="auto" latinLnBrk="0" hangingPunct="1">
              <a:lnSpc>
                <a:spcPct val="100000"/>
              </a:lnSpc>
              <a:spcBef>
                <a:spcPts val="1200"/>
              </a:spcBef>
              <a:spcAft>
                <a:spcPts val="600"/>
              </a:spcAft>
              <a:buClrTx/>
              <a:buSzTx/>
              <a:buFont typeface="Arial" pitchFamily="34" charset="0"/>
              <a:buNone/>
              <a:tabLst/>
              <a:defRPr lang="en-US" sz="1200" b="0" kern="1200" baseline="0" dirty="0" smtClean="0">
                <a:solidFill>
                  <a:schemeClr val="tx1"/>
                </a:solidFill>
                <a:latin typeface="+mj-lt"/>
                <a:ea typeface="+mn-ea"/>
                <a:cs typeface="+mn-cs"/>
              </a:defRPr>
            </a:lvl5pPr>
            <a:lvl6pPr marL="0" indent="0" algn="l" defTabSz="1088776" rtl="0" eaLnBrk="1" latinLnBrk="0" hangingPunct="1">
              <a:spcBef>
                <a:spcPts val="600"/>
              </a:spcBef>
              <a:spcAft>
                <a:spcPts val="400"/>
              </a:spcAft>
              <a:buFont typeface="Wingdings" panose="05000000000000000000" pitchFamily="2" charset="2"/>
              <a:buNone/>
              <a:defRPr lang="en-US" sz="1100" b="0" kern="1200" dirty="0" smtClean="0">
                <a:solidFill>
                  <a:schemeClr val="tx1"/>
                </a:solidFill>
                <a:latin typeface="Bahnschrift" panose="020B0502040204020203" pitchFamily="34" charset="0"/>
                <a:ea typeface="+mn-ea"/>
                <a:cs typeface="+mn-cs"/>
              </a:defRPr>
            </a:lvl6pPr>
            <a:lvl7pPr marL="252000" indent="-252000" algn="l" defTabSz="1088776" rtl="0" eaLnBrk="1" latinLnBrk="0" hangingPunct="1">
              <a:spcBef>
                <a:spcPts val="0"/>
              </a:spcBef>
              <a:spcAft>
                <a:spcPts val="800"/>
              </a:spcAft>
              <a:buClr>
                <a:schemeClr val="tx1"/>
              </a:buClr>
              <a:buFont typeface="+mj-lt"/>
              <a:buAutoNum type="alphaLcPeriod"/>
              <a:tabLst/>
              <a:defRPr sz="1400" kern="1200">
                <a:solidFill>
                  <a:schemeClr val="tx1"/>
                </a:solidFill>
                <a:latin typeface="+mn-lt"/>
                <a:ea typeface="+mn-ea"/>
                <a:cs typeface="+mn-cs"/>
              </a:defRPr>
            </a:lvl7pPr>
            <a:lvl8pPr marL="504000" indent="-252000" algn="l" defTabSz="1088776" rtl="0" eaLnBrk="1" latinLnBrk="0" hangingPunct="1">
              <a:spcBef>
                <a:spcPts val="0"/>
              </a:spcBef>
              <a:spcAft>
                <a:spcPts val="800"/>
              </a:spcAft>
              <a:buClr>
                <a:schemeClr val="tx1">
                  <a:lumMod val="50000"/>
                  <a:lumOff val="50000"/>
                </a:schemeClr>
              </a:buClr>
              <a:buFont typeface="+mj-lt"/>
              <a:buAutoNum type="romanLcPeriod"/>
              <a:tabLst/>
              <a:defRPr sz="1200" kern="1200">
                <a:solidFill>
                  <a:schemeClr val="tx1"/>
                </a:solidFill>
                <a:latin typeface="+mn-lt"/>
                <a:ea typeface="+mn-ea"/>
                <a:cs typeface="+mn-cs"/>
              </a:defRPr>
            </a:lvl8pPr>
            <a:lvl9pPr marL="0" indent="0" algn="l" defTabSz="1088776" rtl="0" eaLnBrk="1" latinLnBrk="0" hangingPunct="1">
              <a:spcBef>
                <a:spcPts val="1000"/>
              </a:spcBef>
              <a:spcAft>
                <a:spcPts val="800"/>
              </a:spcAft>
              <a:buFont typeface="Arial" pitchFamily="34" charset="0"/>
              <a:buNone/>
              <a:defRPr sz="1000" kern="1200">
                <a:solidFill>
                  <a:schemeClr val="tx1"/>
                </a:solidFill>
                <a:latin typeface="Bahnschrift Light SemiCondensed" panose="020B0502040204020203" pitchFamily="34" charset="0"/>
                <a:ea typeface="+mn-ea"/>
                <a:cs typeface="+mn-cs"/>
              </a:defRPr>
            </a:lvl9pPr>
          </a:lstStyle>
          <a:p>
            <a:r>
              <a:rPr lang="en-AU" sz="1000" dirty="0"/>
              <a:t>Source: Oxford Economics </a:t>
            </a:r>
          </a:p>
        </p:txBody>
      </p:sp>
      <p:pic>
        <p:nvPicPr>
          <p:cNvPr id="6" name="Picture 5">
            <a:extLst>
              <a:ext uri="{FF2B5EF4-FFF2-40B4-BE49-F238E27FC236}">
                <a16:creationId xmlns:a16="http://schemas.microsoft.com/office/drawing/2014/main" id="{95950563-DA4E-EEBB-AC2D-A3757117A422}"/>
              </a:ext>
            </a:extLst>
          </p:cNvPr>
          <p:cNvPicPr>
            <a:picLocks noChangeAspect="1"/>
          </p:cNvPicPr>
          <p:nvPr/>
        </p:nvPicPr>
        <p:blipFill>
          <a:blip r:embed="rId3"/>
          <a:stretch>
            <a:fillRect/>
          </a:stretch>
        </p:blipFill>
        <p:spPr>
          <a:xfrm>
            <a:off x="0" y="1083950"/>
            <a:ext cx="4115374" cy="2534004"/>
          </a:xfrm>
          <a:prstGeom prst="rect">
            <a:avLst/>
          </a:prstGeom>
        </p:spPr>
      </p:pic>
      <p:sp>
        <p:nvSpPr>
          <p:cNvPr id="7" name="TextBox 6">
            <a:extLst>
              <a:ext uri="{FF2B5EF4-FFF2-40B4-BE49-F238E27FC236}">
                <a16:creationId xmlns:a16="http://schemas.microsoft.com/office/drawing/2014/main" id="{A21886B1-59FC-F052-4354-24000A985806}"/>
              </a:ext>
            </a:extLst>
          </p:cNvPr>
          <p:cNvSpPr txBox="1"/>
          <p:nvPr/>
        </p:nvSpPr>
        <p:spPr>
          <a:xfrm>
            <a:off x="1340592" y="693689"/>
            <a:ext cx="3410712" cy="276999"/>
          </a:xfrm>
          <a:prstGeom prst="rect">
            <a:avLst/>
          </a:prstGeom>
          <a:noFill/>
        </p:spPr>
        <p:txBody>
          <a:bodyPr wrap="square" rtlCol="0">
            <a:spAutoFit/>
          </a:bodyPr>
          <a:lstStyle/>
          <a:p>
            <a:r>
              <a:rPr lang="en-AU" sz="1200" b="1"/>
              <a:t>Real GDP (</a:t>
            </a:r>
            <a:r>
              <a:rPr lang="en-AU" sz="1200" b="1" err="1"/>
              <a:t>yoy</a:t>
            </a:r>
            <a:r>
              <a:rPr lang="en-AU" sz="1200" b="1"/>
              <a:t>, %)</a:t>
            </a:r>
          </a:p>
        </p:txBody>
      </p:sp>
      <p:sp>
        <p:nvSpPr>
          <p:cNvPr id="8" name="TextBox 7">
            <a:extLst>
              <a:ext uri="{FF2B5EF4-FFF2-40B4-BE49-F238E27FC236}">
                <a16:creationId xmlns:a16="http://schemas.microsoft.com/office/drawing/2014/main" id="{2A07149F-6270-B9A7-B957-90E765053ACF}"/>
              </a:ext>
            </a:extLst>
          </p:cNvPr>
          <p:cNvSpPr txBox="1"/>
          <p:nvPr/>
        </p:nvSpPr>
        <p:spPr>
          <a:xfrm>
            <a:off x="5394984" y="693690"/>
            <a:ext cx="3410712" cy="276999"/>
          </a:xfrm>
          <a:prstGeom prst="rect">
            <a:avLst/>
          </a:prstGeom>
          <a:noFill/>
        </p:spPr>
        <p:txBody>
          <a:bodyPr wrap="square" rtlCol="0">
            <a:spAutoFit/>
          </a:bodyPr>
          <a:lstStyle/>
          <a:p>
            <a:r>
              <a:rPr lang="en-AU" sz="1200" b="1"/>
              <a:t>Unemployment rate (%)</a:t>
            </a:r>
          </a:p>
        </p:txBody>
      </p:sp>
      <p:pic>
        <p:nvPicPr>
          <p:cNvPr id="9" name="Picture 8">
            <a:extLst>
              <a:ext uri="{FF2B5EF4-FFF2-40B4-BE49-F238E27FC236}">
                <a16:creationId xmlns:a16="http://schemas.microsoft.com/office/drawing/2014/main" id="{AB527DCE-AE36-3312-F79A-4D426D9978DF}"/>
              </a:ext>
            </a:extLst>
          </p:cNvPr>
          <p:cNvPicPr>
            <a:picLocks noChangeAspect="1"/>
          </p:cNvPicPr>
          <p:nvPr/>
        </p:nvPicPr>
        <p:blipFill>
          <a:blip r:embed="rId4"/>
          <a:stretch>
            <a:fillRect/>
          </a:stretch>
        </p:blipFill>
        <p:spPr>
          <a:xfrm>
            <a:off x="9526" y="4050249"/>
            <a:ext cx="4096322" cy="2734057"/>
          </a:xfrm>
          <a:prstGeom prst="rect">
            <a:avLst/>
          </a:prstGeom>
        </p:spPr>
      </p:pic>
      <p:sp>
        <p:nvSpPr>
          <p:cNvPr id="10" name="TextBox 9">
            <a:extLst>
              <a:ext uri="{FF2B5EF4-FFF2-40B4-BE49-F238E27FC236}">
                <a16:creationId xmlns:a16="http://schemas.microsoft.com/office/drawing/2014/main" id="{2E463BC3-D27F-A5DD-A822-8208311ACF94}"/>
              </a:ext>
            </a:extLst>
          </p:cNvPr>
          <p:cNvSpPr txBox="1"/>
          <p:nvPr/>
        </p:nvSpPr>
        <p:spPr>
          <a:xfrm>
            <a:off x="1397404" y="3773250"/>
            <a:ext cx="3410712" cy="276999"/>
          </a:xfrm>
          <a:prstGeom prst="rect">
            <a:avLst/>
          </a:prstGeom>
          <a:noFill/>
        </p:spPr>
        <p:txBody>
          <a:bodyPr wrap="square" rtlCol="0">
            <a:spAutoFit/>
          </a:bodyPr>
          <a:lstStyle/>
          <a:p>
            <a:r>
              <a:rPr lang="en-AU" sz="1200" b="1"/>
              <a:t>RBA Cash Rate (%)</a:t>
            </a:r>
          </a:p>
        </p:txBody>
      </p:sp>
      <p:pic>
        <p:nvPicPr>
          <p:cNvPr id="12" name="Picture 11">
            <a:extLst>
              <a:ext uri="{FF2B5EF4-FFF2-40B4-BE49-F238E27FC236}">
                <a16:creationId xmlns:a16="http://schemas.microsoft.com/office/drawing/2014/main" id="{CCE009FA-D767-A519-6F7A-36591D6ED995}"/>
              </a:ext>
            </a:extLst>
          </p:cNvPr>
          <p:cNvPicPr>
            <a:picLocks noChangeAspect="1"/>
          </p:cNvPicPr>
          <p:nvPr/>
        </p:nvPicPr>
        <p:blipFill>
          <a:blip r:embed="rId5"/>
          <a:stretch>
            <a:fillRect/>
          </a:stretch>
        </p:blipFill>
        <p:spPr>
          <a:xfrm>
            <a:off x="4018423" y="902950"/>
            <a:ext cx="4058216" cy="2715004"/>
          </a:xfrm>
          <a:prstGeom prst="rect">
            <a:avLst/>
          </a:prstGeom>
        </p:spPr>
      </p:pic>
      <p:pic>
        <p:nvPicPr>
          <p:cNvPr id="14" name="Picture 13">
            <a:extLst>
              <a:ext uri="{FF2B5EF4-FFF2-40B4-BE49-F238E27FC236}">
                <a16:creationId xmlns:a16="http://schemas.microsoft.com/office/drawing/2014/main" id="{27FA5518-7306-1BD9-6864-5A99BF0CA0BC}"/>
              </a:ext>
            </a:extLst>
          </p:cNvPr>
          <p:cNvPicPr>
            <a:picLocks noChangeAspect="1"/>
          </p:cNvPicPr>
          <p:nvPr/>
        </p:nvPicPr>
        <p:blipFill>
          <a:blip r:embed="rId6"/>
          <a:stretch>
            <a:fillRect/>
          </a:stretch>
        </p:blipFill>
        <p:spPr>
          <a:xfrm>
            <a:off x="8096916" y="1077578"/>
            <a:ext cx="4077269" cy="2543530"/>
          </a:xfrm>
          <a:prstGeom prst="rect">
            <a:avLst/>
          </a:prstGeom>
        </p:spPr>
      </p:pic>
      <p:sp>
        <p:nvSpPr>
          <p:cNvPr id="15" name="TextBox 14">
            <a:extLst>
              <a:ext uri="{FF2B5EF4-FFF2-40B4-BE49-F238E27FC236}">
                <a16:creationId xmlns:a16="http://schemas.microsoft.com/office/drawing/2014/main" id="{13A992C6-CB60-A94A-B44A-1965D0CE9216}"/>
              </a:ext>
            </a:extLst>
          </p:cNvPr>
          <p:cNvSpPr txBox="1"/>
          <p:nvPr/>
        </p:nvSpPr>
        <p:spPr>
          <a:xfrm>
            <a:off x="9602514" y="700380"/>
            <a:ext cx="3410712" cy="276999"/>
          </a:xfrm>
          <a:prstGeom prst="rect">
            <a:avLst/>
          </a:prstGeom>
          <a:noFill/>
        </p:spPr>
        <p:txBody>
          <a:bodyPr wrap="square" rtlCol="0">
            <a:spAutoFit/>
          </a:bodyPr>
          <a:lstStyle/>
          <a:p>
            <a:r>
              <a:rPr lang="en-AU" sz="1200" b="1"/>
              <a:t>CPI (</a:t>
            </a:r>
            <a:r>
              <a:rPr lang="en-AU" sz="1200" b="1" err="1"/>
              <a:t>yoy</a:t>
            </a:r>
            <a:r>
              <a:rPr lang="en-AU" sz="1200" b="1"/>
              <a:t>%)</a:t>
            </a:r>
          </a:p>
        </p:txBody>
      </p:sp>
      <p:sp>
        <p:nvSpPr>
          <p:cNvPr id="16" name="TextBox 15">
            <a:extLst>
              <a:ext uri="{FF2B5EF4-FFF2-40B4-BE49-F238E27FC236}">
                <a16:creationId xmlns:a16="http://schemas.microsoft.com/office/drawing/2014/main" id="{CB1CEB6A-442A-2967-CD90-B066FA9349F1}"/>
              </a:ext>
            </a:extLst>
          </p:cNvPr>
          <p:cNvSpPr txBox="1"/>
          <p:nvPr/>
        </p:nvSpPr>
        <p:spPr>
          <a:xfrm>
            <a:off x="5493726" y="3827214"/>
            <a:ext cx="3410712" cy="276999"/>
          </a:xfrm>
          <a:prstGeom prst="rect">
            <a:avLst/>
          </a:prstGeom>
          <a:noFill/>
        </p:spPr>
        <p:txBody>
          <a:bodyPr wrap="square" rtlCol="0">
            <a:spAutoFit/>
          </a:bodyPr>
          <a:lstStyle/>
          <a:p>
            <a:r>
              <a:rPr lang="en-AU" sz="1200" b="1"/>
              <a:t>Bond yields (%)</a:t>
            </a:r>
          </a:p>
        </p:txBody>
      </p:sp>
      <p:sp>
        <p:nvSpPr>
          <p:cNvPr id="18" name="TextBox 17">
            <a:extLst>
              <a:ext uri="{FF2B5EF4-FFF2-40B4-BE49-F238E27FC236}">
                <a16:creationId xmlns:a16="http://schemas.microsoft.com/office/drawing/2014/main" id="{3AD2CC3B-0D97-0028-F512-F4CD05F635C1}"/>
              </a:ext>
            </a:extLst>
          </p:cNvPr>
          <p:cNvSpPr txBox="1"/>
          <p:nvPr/>
        </p:nvSpPr>
        <p:spPr>
          <a:xfrm>
            <a:off x="9590048" y="3827214"/>
            <a:ext cx="3410712" cy="276999"/>
          </a:xfrm>
          <a:prstGeom prst="rect">
            <a:avLst/>
          </a:prstGeom>
          <a:noFill/>
        </p:spPr>
        <p:txBody>
          <a:bodyPr wrap="square" rtlCol="0">
            <a:spAutoFit/>
          </a:bodyPr>
          <a:lstStyle/>
          <a:p>
            <a:r>
              <a:rPr lang="en-AU" sz="1200" b="1"/>
              <a:t>Equities</a:t>
            </a:r>
          </a:p>
        </p:txBody>
      </p:sp>
      <p:pic>
        <p:nvPicPr>
          <p:cNvPr id="20" name="Picture 19">
            <a:extLst>
              <a:ext uri="{FF2B5EF4-FFF2-40B4-BE49-F238E27FC236}">
                <a16:creationId xmlns:a16="http://schemas.microsoft.com/office/drawing/2014/main" id="{A19BF6D5-E17F-72AE-69F7-C2A70AD89BAB}"/>
              </a:ext>
            </a:extLst>
          </p:cNvPr>
          <p:cNvPicPr>
            <a:picLocks noChangeAspect="1"/>
          </p:cNvPicPr>
          <p:nvPr/>
        </p:nvPicPr>
        <p:blipFill>
          <a:blip r:embed="rId7"/>
          <a:stretch>
            <a:fillRect/>
          </a:stretch>
        </p:blipFill>
        <p:spPr>
          <a:xfrm>
            <a:off x="4115374" y="4078828"/>
            <a:ext cx="4010585" cy="2676899"/>
          </a:xfrm>
          <a:prstGeom prst="rect">
            <a:avLst/>
          </a:prstGeom>
        </p:spPr>
      </p:pic>
      <p:pic>
        <p:nvPicPr>
          <p:cNvPr id="22" name="Picture 21">
            <a:extLst>
              <a:ext uri="{FF2B5EF4-FFF2-40B4-BE49-F238E27FC236}">
                <a16:creationId xmlns:a16="http://schemas.microsoft.com/office/drawing/2014/main" id="{F9166DAD-8359-8F77-32B8-5007394BE39D}"/>
              </a:ext>
            </a:extLst>
          </p:cNvPr>
          <p:cNvPicPr>
            <a:picLocks noChangeAspect="1"/>
          </p:cNvPicPr>
          <p:nvPr/>
        </p:nvPicPr>
        <p:blipFill>
          <a:blip r:embed="rId8"/>
          <a:stretch>
            <a:fillRect/>
          </a:stretch>
        </p:blipFill>
        <p:spPr>
          <a:xfrm>
            <a:off x="8039758" y="4104212"/>
            <a:ext cx="4134427" cy="2743583"/>
          </a:xfrm>
          <a:prstGeom prst="rect">
            <a:avLst/>
          </a:prstGeom>
        </p:spPr>
      </p:pic>
      <p:sp>
        <p:nvSpPr>
          <p:cNvPr id="4" name="TextBox 3">
            <a:extLst>
              <a:ext uri="{FF2B5EF4-FFF2-40B4-BE49-F238E27FC236}">
                <a16:creationId xmlns:a16="http://schemas.microsoft.com/office/drawing/2014/main" id="{63F14FD2-7AF9-6588-D2F3-814F26D130F9}"/>
              </a:ext>
            </a:extLst>
          </p:cNvPr>
          <p:cNvSpPr txBox="1"/>
          <p:nvPr/>
        </p:nvSpPr>
        <p:spPr>
          <a:xfrm>
            <a:off x="12195175" y="3642547"/>
            <a:ext cx="2031463" cy="646331"/>
          </a:xfrm>
          <a:prstGeom prst="rect">
            <a:avLst/>
          </a:prstGeom>
          <a:solidFill>
            <a:schemeClr val="bg1"/>
          </a:solidFill>
        </p:spPr>
        <p:txBody>
          <a:bodyPr wrap="square" rtlCol="0">
            <a:spAutoFit/>
          </a:bodyPr>
          <a:lstStyle/>
          <a:p>
            <a:r>
              <a:rPr lang="en-AU" sz="1800" dirty="0">
                <a:solidFill>
                  <a:schemeClr val="accent1">
                    <a:lumMod val="75000"/>
                  </a:schemeClr>
                </a:solidFill>
              </a:rPr>
              <a:t>Why so much impact on equities? </a:t>
            </a:r>
          </a:p>
        </p:txBody>
      </p:sp>
    </p:spTree>
    <p:extLst>
      <p:ext uri="{BB962C8B-B14F-4D97-AF65-F5344CB8AC3E}">
        <p14:creationId xmlns:p14="http://schemas.microsoft.com/office/powerpoint/2010/main" val="286649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5FA89-3847-761A-943A-A79EACE68C3A}"/>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1408EDA1-A330-7209-EEE1-ED8A9CF41720}"/>
              </a:ext>
            </a:extLst>
          </p:cNvPr>
          <p:cNvSpPr>
            <a:spLocks noGrp="1"/>
          </p:cNvSpPr>
          <p:nvPr>
            <p:ph type="body" idx="18"/>
          </p:nvPr>
        </p:nvSpPr>
        <p:spPr>
          <a:xfrm>
            <a:off x="731450" y="2757237"/>
            <a:ext cx="10926762" cy="1345114"/>
          </a:xfrm>
        </p:spPr>
        <p:txBody>
          <a:bodyPr/>
          <a:lstStyle/>
          <a:p>
            <a:r>
              <a:rPr lang="en-AU" dirty="0"/>
              <a:t>Global economy – US fiscal risks</a:t>
            </a:r>
          </a:p>
        </p:txBody>
      </p:sp>
      <p:sp>
        <p:nvSpPr>
          <p:cNvPr id="6" name="Slide Number Placeholder 5">
            <a:extLst>
              <a:ext uri="{FF2B5EF4-FFF2-40B4-BE49-F238E27FC236}">
                <a16:creationId xmlns:a16="http://schemas.microsoft.com/office/drawing/2014/main" id="{AF76EED3-9317-1CAA-C12D-F3D085387966}"/>
              </a:ext>
            </a:extLst>
          </p:cNvPr>
          <p:cNvSpPr>
            <a:spLocks noGrp="1"/>
          </p:cNvSpPr>
          <p:nvPr>
            <p:ph type="sldNum" sz="quarter" idx="20"/>
          </p:nvPr>
        </p:nvSpPr>
        <p:spPr/>
        <p:txBody>
          <a:bodyPr/>
          <a:lstStyle/>
          <a:p>
            <a:fld id="{E917DE0E-AFB1-41FD-BC35-27DB61CA125F}" type="slidenum">
              <a:rPr lang="en-AU" smtClean="0"/>
              <a:pPr/>
              <a:t>8</a:t>
            </a:fld>
            <a:endParaRPr lang="en-AU"/>
          </a:p>
        </p:txBody>
      </p:sp>
    </p:spTree>
    <p:extLst>
      <p:ext uri="{BB962C8B-B14F-4D97-AF65-F5344CB8AC3E}">
        <p14:creationId xmlns:p14="http://schemas.microsoft.com/office/powerpoint/2010/main" val="135853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96C982-3A81-D8E7-E42C-1CDB0B046B3A}"/>
              </a:ext>
            </a:extLst>
          </p:cNvPr>
          <p:cNvSpPr>
            <a:spLocks noGrp="1"/>
          </p:cNvSpPr>
          <p:nvPr>
            <p:ph type="title"/>
          </p:nvPr>
        </p:nvSpPr>
        <p:spPr>
          <a:xfrm>
            <a:off x="696912" y="117426"/>
            <a:ext cx="10801350" cy="576264"/>
          </a:xfrm>
        </p:spPr>
        <p:txBody>
          <a:bodyPr/>
          <a:lstStyle/>
          <a:p>
            <a:r>
              <a:rPr lang="en-AU" dirty="0"/>
              <a:t>US fiscal challenges</a:t>
            </a:r>
          </a:p>
        </p:txBody>
      </p:sp>
      <p:sp>
        <p:nvSpPr>
          <p:cNvPr id="17" name="Slide Number Placeholder 16">
            <a:extLst>
              <a:ext uri="{FF2B5EF4-FFF2-40B4-BE49-F238E27FC236}">
                <a16:creationId xmlns:a16="http://schemas.microsoft.com/office/drawing/2014/main" id="{A22BE479-268D-2AE7-D21B-7087D6ECFF17}"/>
              </a:ext>
            </a:extLst>
          </p:cNvPr>
          <p:cNvSpPr>
            <a:spLocks noGrp="1"/>
          </p:cNvSpPr>
          <p:nvPr>
            <p:ph type="sldNum" sz="quarter" idx="16"/>
          </p:nvPr>
        </p:nvSpPr>
        <p:spPr/>
        <p:txBody>
          <a:bodyPr/>
          <a:lstStyle/>
          <a:p>
            <a:fld id="{E917DE0E-AFB1-41FD-BC35-27DB61CA125F}" type="slidenum">
              <a:rPr lang="en-AU" smtClean="0"/>
              <a:pPr/>
              <a:t>9</a:t>
            </a:fld>
            <a:endParaRPr lang="en-AU" dirty="0"/>
          </a:p>
        </p:txBody>
      </p:sp>
      <p:graphicFrame>
        <p:nvGraphicFramePr>
          <p:cNvPr id="6" name="Object 5">
            <a:extLst>
              <a:ext uri="{FF2B5EF4-FFF2-40B4-BE49-F238E27FC236}">
                <a16:creationId xmlns:a16="http://schemas.microsoft.com/office/drawing/2014/main" id="{9DB36B67-83DA-E112-3820-CFE6B1A49B13}"/>
              </a:ext>
            </a:extLst>
          </p:cNvPr>
          <p:cNvGraphicFramePr>
            <a:graphicFrameLocks noChangeAspect="1"/>
          </p:cNvGraphicFramePr>
          <p:nvPr>
            <p:extLst>
              <p:ext uri="{D42A27DB-BD31-4B8C-83A1-F6EECF244321}">
                <p14:modId xmlns:p14="http://schemas.microsoft.com/office/powerpoint/2010/main" val="1378576369"/>
              </p:ext>
            </p:extLst>
          </p:nvPr>
        </p:nvGraphicFramePr>
        <p:xfrm>
          <a:off x="696913" y="1068388"/>
          <a:ext cx="5124450" cy="4722812"/>
        </p:xfrm>
        <a:graphic>
          <a:graphicData uri="http://schemas.openxmlformats.org/presentationml/2006/ole">
            <mc:AlternateContent xmlns:mc="http://schemas.openxmlformats.org/markup-compatibility/2006">
              <mc:Choice xmlns:v="urn:schemas-microsoft-com:vml" Requires="v">
                <p:oleObj name="Macrobond document" r:id="rId3" imgW="5123742" imgH="4723318" progId="Mbnd.mbnd">
                  <p:embed/>
                </p:oleObj>
              </mc:Choice>
              <mc:Fallback>
                <p:oleObj name="Macrobond document" r:id="rId3" imgW="5123742" imgH="4723318" progId="Mbnd.mbnd">
                  <p:embed/>
                  <p:pic>
                    <p:nvPicPr>
                      <p:cNvPr id="6" name="Object 5">
                        <a:extLst>
                          <a:ext uri="{FF2B5EF4-FFF2-40B4-BE49-F238E27FC236}">
                            <a16:creationId xmlns:a16="http://schemas.microsoft.com/office/drawing/2014/main" id="{9DB36B67-83DA-E112-3820-CFE6B1A49B13}"/>
                          </a:ext>
                        </a:extLst>
                      </p:cNvPr>
                      <p:cNvPicPr/>
                      <p:nvPr/>
                    </p:nvPicPr>
                    <p:blipFill>
                      <a:blip r:embed="rId4"/>
                      <a:stretch>
                        <a:fillRect/>
                      </a:stretch>
                    </p:blipFill>
                    <p:spPr>
                      <a:xfrm>
                        <a:off x="696913" y="1068388"/>
                        <a:ext cx="5124450" cy="4722812"/>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E54E1BA8-7002-D606-AF23-AF06C1F2856A}"/>
              </a:ext>
            </a:extLst>
          </p:cNvPr>
          <p:cNvGraphicFramePr>
            <a:graphicFrameLocks noChangeAspect="1"/>
          </p:cNvGraphicFramePr>
          <p:nvPr>
            <p:extLst>
              <p:ext uri="{D42A27DB-BD31-4B8C-83A1-F6EECF244321}">
                <p14:modId xmlns:p14="http://schemas.microsoft.com/office/powerpoint/2010/main" val="1904709200"/>
              </p:ext>
            </p:extLst>
          </p:nvPr>
        </p:nvGraphicFramePr>
        <p:xfrm>
          <a:off x="6526213" y="1068388"/>
          <a:ext cx="5124450" cy="4722812"/>
        </p:xfrm>
        <a:graphic>
          <a:graphicData uri="http://schemas.openxmlformats.org/presentationml/2006/ole">
            <mc:AlternateContent xmlns:mc="http://schemas.openxmlformats.org/markup-compatibility/2006">
              <mc:Choice xmlns:v="urn:schemas-microsoft-com:vml" Requires="v">
                <p:oleObj name="Macrobond document" r:id="rId5" imgW="5123742" imgH="4723318" progId="Mbnd.mbnd">
                  <p:embed/>
                </p:oleObj>
              </mc:Choice>
              <mc:Fallback>
                <p:oleObj name="Macrobond document" r:id="rId5" imgW="5123742" imgH="4723318" progId="Mbnd.mbnd">
                  <p:embed/>
                  <p:pic>
                    <p:nvPicPr>
                      <p:cNvPr id="7" name="Object 6">
                        <a:extLst>
                          <a:ext uri="{FF2B5EF4-FFF2-40B4-BE49-F238E27FC236}">
                            <a16:creationId xmlns:a16="http://schemas.microsoft.com/office/drawing/2014/main" id="{E54E1BA8-7002-D606-AF23-AF06C1F2856A}"/>
                          </a:ext>
                        </a:extLst>
                      </p:cNvPr>
                      <p:cNvPicPr/>
                      <p:nvPr/>
                    </p:nvPicPr>
                    <p:blipFill>
                      <a:blip r:embed="rId6"/>
                      <a:stretch>
                        <a:fillRect/>
                      </a:stretch>
                    </p:blipFill>
                    <p:spPr>
                      <a:xfrm>
                        <a:off x="6526213" y="1068388"/>
                        <a:ext cx="5124450" cy="4722812"/>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E88C10-BDB1-0103-3482-F63D9B235182}"/>
              </a:ext>
            </a:extLst>
          </p:cNvPr>
          <p:cNvSpPr txBox="1"/>
          <p:nvPr/>
        </p:nvSpPr>
        <p:spPr>
          <a:xfrm>
            <a:off x="12278302" y="1983179"/>
            <a:ext cx="2031463" cy="2262158"/>
          </a:xfrm>
          <a:prstGeom prst="rect">
            <a:avLst/>
          </a:prstGeom>
          <a:solidFill>
            <a:schemeClr val="bg1"/>
          </a:solidFill>
        </p:spPr>
        <p:txBody>
          <a:bodyPr wrap="square" rtlCol="0">
            <a:spAutoFit/>
          </a:bodyPr>
          <a:lstStyle/>
          <a:p>
            <a:r>
              <a:rPr lang="en-AU" sz="1800" dirty="0">
                <a:solidFill>
                  <a:schemeClr val="accent1">
                    <a:lumMod val="75000"/>
                  </a:schemeClr>
                </a:solidFill>
              </a:rPr>
              <a:t>What are some examples of distinct fiscal strategies?</a:t>
            </a:r>
          </a:p>
          <a:p>
            <a:r>
              <a:rPr lang="en-AU" sz="1800" dirty="0">
                <a:solidFill>
                  <a:schemeClr val="accent1">
                    <a:lumMod val="75000"/>
                  </a:schemeClr>
                </a:solidFill>
              </a:rPr>
              <a:t>Great graph of structural vs cyclical forces on the budget!</a:t>
            </a:r>
          </a:p>
        </p:txBody>
      </p:sp>
    </p:spTree>
    <p:extLst>
      <p:ext uri="{BB962C8B-B14F-4D97-AF65-F5344CB8AC3E}">
        <p14:creationId xmlns:p14="http://schemas.microsoft.com/office/powerpoint/2010/main" val="226890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a:themeElements>
    <a:clrScheme name="QTC Corporate (Base)">
      <a:dk1>
        <a:sysClr val="windowText" lastClr="000000"/>
      </a:dk1>
      <a:lt1>
        <a:sysClr val="window" lastClr="FFFFFF"/>
      </a:lt1>
      <a:dk2>
        <a:srgbClr val="0A3465"/>
      </a:dk2>
      <a:lt2>
        <a:srgbClr val="82B4DD"/>
      </a:lt2>
      <a:accent1>
        <a:srgbClr val="0000FF"/>
      </a:accent1>
      <a:accent2>
        <a:srgbClr val="C5C3C4"/>
      </a:accent2>
      <a:accent3>
        <a:srgbClr val="777880"/>
      </a:accent3>
      <a:accent4>
        <a:srgbClr val="343434"/>
      </a:accent4>
      <a:accent5>
        <a:srgbClr val="0093B5"/>
      </a:accent5>
      <a:accent6>
        <a:srgbClr val="FFCE55"/>
      </a:accent6>
      <a:hlink>
        <a:srgbClr val="82B4DD"/>
      </a:hlink>
      <a:folHlink>
        <a:srgbClr val="F2F2F2"/>
      </a:folHlink>
    </a:clrScheme>
    <a:fontScheme name="QTC PPT">
      <a:majorFont>
        <a:latin typeface="Bahnschrift SemiBold"/>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ank.potx" id="{14C2D93D-7251-4D00-AE19-098329A5055D}" vid="{306B89C9-0E60-46FF-9B2B-BAA9B16EEFF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i7ac6a6b4fad496d9db43cf4eb4492b7 xmlns="531c822f-436d-434e-85b7-93bb8b3c75ba">
      <Terms xmlns="http://schemas.microsoft.com/office/infopath/2007/PartnerControls"/>
    </i7ac6a6b4fad496d9db43cf4eb4492b7>
    <SPAuthor xmlns="531c822f-436d-434e-85b7-93bb8b3c75ba" xsi:nil="true"/>
    <FileServerLocation xmlns="531c822f-436d-434e-85b7-93bb8b3c75ba" xsi:nil="true"/>
    <SPEditor xmlns="531c822f-436d-434e-85b7-93bb8b3c75ba" xsi:nil="true"/>
    <OriginalName xmlns="531c822f-436d-434e-85b7-93bb8b3c75ba" xsi:nil="true"/>
    <ObjectID xmlns="531c822f-436d-434e-85b7-93bb8b3c75ba" xsi:nil="true"/>
    <VersionDetails xmlns="531c822f-436d-434e-85b7-93bb8b3c75ba" xsi:nil="true"/>
    <OriginalAuthor xmlns="531c822f-436d-434e-85b7-93bb8b3c75ba" xsi:nil="true"/>
    <OriginalEditor xmlns="531c822f-436d-434e-85b7-93bb8b3c75ba" xsi:nil="true"/>
    <ApplicationFilePath xmlns="531c822f-436d-434e-85b7-93bb8b3c75ba" xsi:nil="true"/>
    <TaxCatchAll xmlns="531c822f-436d-434e-85b7-93bb8b3c75ba" xsi:nil="true"/>
    <lcf76f155ced4ddcb4097134ff3c332f xmlns="0da52d28-f14f-4c36-b71f-40f8f1dbcba4" xsi:nil="true"/>
  </documentManagement>
</p:properties>
</file>

<file path=customXml/item2.xml><?xml version="1.0" encoding="utf-8"?>
<BBSettings xmlns="http://schemas.bloomberg.com/settings/1.0">
  <Item name="DocumentId_Charts">{105CCF72-6AAB-4736-9A76-49628C9AC753}</Item>
  <Item xmlns="" name="ShapesMap_Charts">{"{105CCF72-6AAB-4736-9A76-49628C9AC753}":{"2147375313":{},"2147375361":{},"2147375368":{},"2147375370":{},"2147375374":{},"2147375385":{},"2147375386":{},"2147375387":{},"2147375390":{},"2147375392":{},"2147375428":{},"2147375441":{},"2147375442":{},"2147375443":{},"2147375444":{},"2147375447":{},"2147375448":{},"2147375449":{},"2147375469":{},"2147375474":{},"2147375480":{},"2147375481":{},"2147375482":{},"2147375483":{},"2147375484":{},"2147375485":{},"2147375486":{},"2147375487":{},"497":{},"537":{}}}</Item>
</BBSetting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PowerPoint" ma:contentTypeID="0x01010088F535857049AC459A593AFBE2F114D90100C766A1E4123BEB4EBF3919D125AC931D" ma:contentTypeVersion="22" ma:contentTypeDescription="Create a new document." ma:contentTypeScope="" ma:versionID="7be4da99160d8bd1f5eba89323b5e124">
  <xsd:schema xmlns:xsd="http://www.w3.org/2001/XMLSchema" xmlns:xs="http://www.w3.org/2001/XMLSchema" xmlns:p="http://schemas.microsoft.com/office/2006/metadata/properties" xmlns:ns2="531c822f-436d-434e-85b7-93bb8b3c75ba" xmlns:ns3="0da52d28-f14f-4c36-b71f-40f8f1dbcba4" targetNamespace="http://schemas.microsoft.com/office/2006/metadata/properties" ma:root="true" ma:fieldsID="13633ab4604081aec80eaa443f1ea4ee" ns2:_="" ns3:_="">
    <xsd:import namespace="531c822f-436d-434e-85b7-93bb8b3c75ba"/>
    <xsd:import namespace="0da52d28-f14f-4c36-b71f-40f8f1dbcba4"/>
    <xsd:element name="properties">
      <xsd:complexType>
        <xsd:sequence>
          <xsd:element name="documentManagement">
            <xsd:complexType>
              <xsd:all>
                <xsd:element ref="ns2:SPAuthor" minOccurs="0"/>
                <xsd:element ref="ns2:SPEditor" minOccurs="0"/>
                <xsd:element ref="ns2:ApplicationFilePath" minOccurs="0"/>
                <xsd:element ref="ns2:i7ac6a6b4fad496d9db43cf4eb4492b7" minOccurs="0"/>
                <xsd:element ref="ns2:TaxCatchAll" minOccurs="0"/>
                <xsd:element ref="ns2:TaxCatchAllLabel" minOccurs="0"/>
                <xsd:element ref="ns2:FileServerLocation" minOccurs="0"/>
                <xsd:element ref="ns2:ObjectID" minOccurs="0"/>
                <xsd:element ref="ns2:OriginalAuthor" minOccurs="0"/>
                <xsd:element ref="ns2:OriginalEditor" minOccurs="0"/>
                <xsd:element ref="ns2:OriginalName" minOccurs="0"/>
                <xsd:element ref="ns2:VersionDetails" minOccurs="0"/>
                <xsd:element ref="ns3: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1c822f-436d-434e-85b7-93bb8b3c75ba" elementFormDefault="qualified">
    <xsd:import namespace="http://schemas.microsoft.com/office/2006/documentManagement/types"/>
    <xsd:import namespace="http://schemas.microsoft.com/office/infopath/2007/PartnerControls"/>
    <xsd:element name="SPAuthor" ma:index="8" nillable="true" ma:displayName="SP Created by" ma:hidden="true" ma:internalName="SPAuthor" ma:readOnly="false">
      <xsd:simpleType>
        <xsd:restriction base="dms:Text"/>
      </xsd:simpleType>
    </xsd:element>
    <xsd:element name="SPEditor" ma:index="9" nillable="true" ma:displayName="SP Modified by" ma:hidden="true" ma:internalName="SPEditor" ma:readOnly="false">
      <xsd:simpleType>
        <xsd:restriction base="dms:Text"/>
      </xsd:simpleType>
    </xsd:element>
    <xsd:element name="ApplicationFilePath" ma:index="10" nillable="true" ma:displayName="ApplicationFilePath" ma:hidden="true" ma:internalName="ApplicationFilePath" ma:readOnly="false">
      <xsd:simpleType>
        <xsd:restriction base="dms:Note"/>
      </xsd:simpleType>
    </xsd:element>
    <xsd:element name="i7ac6a6b4fad496d9db43cf4eb4492b7" ma:index="11" nillable="true" ma:taxonomy="true" ma:internalName="i7ac6a6b4fad496d9db43cf4eb4492b7" ma:taxonomyFieldName="SecurityClassification" ma:displayName="SecurityClassification" ma:readOnly="false" ma:fieldId="{27ac6a6b-4fad-496d-9db4-3cf4eb4492b7}" ma:sspId="406cdc06-de96-4e76-b24a-0bc967af356b" ma:termSetId="97076401-6dce-4a4d-9c95-75fdac2f0315" ma:anchorId="d769b38c-1a6a-4443-a667-a9bfa2422b93" ma:open="false" ma:isKeyword="false">
      <xsd:complexType>
        <xsd:sequence>
          <xsd:element ref="pc:Terms" minOccurs="0" maxOccurs="1"/>
        </xsd:sequence>
      </xsd:complexType>
    </xsd:element>
    <xsd:element name="TaxCatchAll" ma:index="12" nillable="true" ma:displayName="Taxonomy Catch All Column" ma:hidden="true" ma:list="{4b0f2521-0ec5-4788-b943-6df8566a064f}" ma:internalName="TaxCatchAll" ma:showField="CatchAllData" ma:web="531c822f-436d-434e-85b7-93bb8b3c75ba">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4b0f2521-0ec5-4788-b943-6df8566a064f}" ma:internalName="TaxCatchAllLabel" ma:readOnly="true" ma:showField="CatchAllDataLabel" ma:web="531c822f-436d-434e-85b7-93bb8b3c75ba">
      <xsd:complexType>
        <xsd:complexContent>
          <xsd:extension base="dms:MultiChoiceLookup">
            <xsd:sequence>
              <xsd:element name="Value" type="dms:Lookup" maxOccurs="unbounded" minOccurs="0" nillable="true"/>
            </xsd:sequence>
          </xsd:extension>
        </xsd:complexContent>
      </xsd:complexType>
    </xsd:element>
    <xsd:element name="FileServerLocation" ma:index="15" nillable="true" ma:displayName="FileServerLocation" ma:hidden="true" ma:internalName="FileServerLocation" ma:readOnly="false">
      <xsd:simpleType>
        <xsd:restriction base="dms:Text">
          <xsd:maxLength value="255"/>
        </xsd:restriction>
      </xsd:simpleType>
    </xsd:element>
    <xsd:element name="ObjectID" ma:index="16" nillable="true" ma:displayName="ObjectID" ma:hidden="true" ma:internalName="ObjectID" ma:readOnly="false">
      <xsd:simpleType>
        <xsd:restriction base="dms:Text"/>
      </xsd:simpleType>
    </xsd:element>
    <xsd:element name="OriginalAuthor" ma:index="17" nillable="true" ma:displayName="OriginalAuthor" ma:hidden="true" ma:internalName="OriginalAuthor" ma:readOnly="false">
      <xsd:simpleType>
        <xsd:restriction base="dms:Text">
          <xsd:maxLength value="255"/>
        </xsd:restriction>
      </xsd:simpleType>
    </xsd:element>
    <xsd:element name="OriginalEditor" ma:index="18" nillable="true" ma:displayName="OriginalEditor" ma:hidden="true" ma:internalName="OriginalEditor" ma:readOnly="false">
      <xsd:simpleType>
        <xsd:restriction base="dms:Text">
          <xsd:maxLength value="255"/>
        </xsd:restriction>
      </xsd:simpleType>
    </xsd:element>
    <xsd:element name="OriginalName" ma:index="19" nillable="true" ma:displayName="OriginalName" ma:hidden="true" ma:internalName="OriginalName" ma:readOnly="false">
      <xsd:simpleType>
        <xsd:restriction base="dms:Text">
          <xsd:maxLength value="255"/>
        </xsd:restriction>
      </xsd:simpleType>
    </xsd:element>
    <xsd:element name="VersionDetails" ma:index="20" nillable="true" ma:displayName="VersionDetails" ma:hidden="true" ma:internalName="VersionDetails"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da52d28-f14f-4c36-b71f-40f8f1dbcba4" elementFormDefault="qualified">
    <xsd:import namespace="http://schemas.microsoft.com/office/2006/documentManagement/types"/>
    <xsd:import namespace="http://schemas.microsoft.com/office/infopath/2007/PartnerControls"/>
    <xsd:element name="lcf76f155ced4ddcb4097134ff3c332f" ma:index="21" nillable="true" ma:displayName="Image Tags_0" ma:hidden="true" ma:internalName="lcf76f155ced4ddcb4097134ff3c332f">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076986B-67A6-4DF0-96A5-CED307D46FD7}">
  <ds:schemaRefs>
    <ds:schemaRef ds:uri="http://purl.org/dc/elements/1.1/"/>
    <ds:schemaRef ds:uri="http://schemas.microsoft.com/office/2006/documentManagement/types"/>
    <ds:schemaRef ds:uri="http://schemas.openxmlformats.org/package/2006/metadata/core-properties"/>
    <ds:schemaRef ds:uri="http://purl.org/dc/dcmitype/"/>
    <ds:schemaRef ds:uri="0da52d28-f14f-4c36-b71f-40f8f1dbcba4"/>
    <ds:schemaRef ds:uri="http://schemas.microsoft.com/office/2006/metadata/properties"/>
    <ds:schemaRef ds:uri="531c822f-436d-434e-85b7-93bb8b3c75ba"/>
    <ds:schemaRef ds:uri="http://schemas.microsoft.com/office/infopath/2007/PartnerControls"/>
    <ds:schemaRef ds:uri="http://www.w3.org/XML/1998/namespace"/>
    <ds:schemaRef ds:uri="http://purl.org/dc/terms/"/>
  </ds:schemaRefs>
</ds:datastoreItem>
</file>

<file path=customXml/itemProps2.xml><?xml version="1.0" encoding="utf-8"?>
<ds:datastoreItem xmlns:ds="http://schemas.openxmlformats.org/officeDocument/2006/customXml" ds:itemID="{50900C7A-EBCB-4DEA-A943-4897CFFAAE54}">
  <ds:schemaRefs>
    <ds:schemaRef ds:uri=""/>
    <ds:schemaRef ds:uri="http://schemas.bloomberg.com/settings/1.0"/>
  </ds:schemaRefs>
</ds:datastoreItem>
</file>

<file path=customXml/itemProps3.xml><?xml version="1.0" encoding="utf-8"?>
<ds:datastoreItem xmlns:ds="http://schemas.openxmlformats.org/officeDocument/2006/customXml" ds:itemID="{12AEDAD6-186C-4F08-920D-48EE0F0925D4}">
  <ds:schemaRefs>
    <ds:schemaRef ds:uri="http://schemas.microsoft.com/sharepoint/v3/contenttype/forms"/>
  </ds:schemaRefs>
</ds:datastoreItem>
</file>

<file path=customXml/itemProps4.xml><?xml version="1.0" encoding="utf-8"?>
<ds:datastoreItem xmlns:ds="http://schemas.openxmlformats.org/officeDocument/2006/customXml" ds:itemID="{070757B3-7472-4D98-A1FF-A21528C576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1c822f-436d-434e-85b7-93bb8b3c75ba"/>
    <ds:schemaRef ds:uri="0da52d28-f14f-4c36-b71f-40f8f1dbcb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9f380a9-c126-4aea-9d95-a9d63a3058a6}" enabled="1" method="Standard" siteId="{43fdeb41-087e-4554-acaf-539bd47b4341}" removed="0"/>
</clbl:labelList>
</file>

<file path=docProps/app.xml><?xml version="1.0" encoding="utf-8"?>
<Properties xmlns="http://schemas.openxmlformats.org/officeDocument/2006/extended-properties" xmlns:vt="http://schemas.openxmlformats.org/officeDocument/2006/docPropsVTypes">
  <Template>blank</Template>
  <TotalTime>3379</TotalTime>
  <Words>2411</Words>
  <Application>Microsoft Office PowerPoint</Application>
  <PresentationFormat>Custom</PresentationFormat>
  <Paragraphs>238</Paragraphs>
  <Slides>30</Slides>
  <Notes>2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30</vt:i4>
      </vt:variant>
    </vt:vector>
  </HeadingPairs>
  <TitlesOfParts>
    <vt:vector size="43" baseType="lpstr">
      <vt:lpstr>Arial</vt:lpstr>
      <vt:lpstr>Bahnschrift</vt:lpstr>
      <vt:lpstr>Bahnschrift Light</vt:lpstr>
      <vt:lpstr>Bahnschrift Light SemiCondensed</vt:lpstr>
      <vt:lpstr>Bahnschrift SemiBold</vt:lpstr>
      <vt:lpstr>Bahnschrift SemiCondensed</vt:lpstr>
      <vt:lpstr>Calibri</vt:lpstr>
      <vt:lpstr>Calibri Light</vt:lpstr>
      <vt:lpstr>Source Sans Pro</vt:lpstr>
      <vt:lpstr>Wingdings</vt:lpstr>
      <vt:lpstr>Corporate</vt:lpstr>
      <vt:lpstr>Macrobond document</vt:lpstr>
      <vt:lpstr>think-cell Slide</vt:lpstr>
      <vt:lpstr>Economic Update</vt:lpstr>
      <vt:lpstr>Agenda</vt:lpstr>
      <vt:lpstr>PowerPoint Presentation</vt:lpstr>
      <vt:lpstr>US trade policy – State of play</vt:lpstr>
      <vt:lpstr>US trade policy – Impact on US economy</vt:lpstr>
      <vt:lpstr>US trade policy – What does an adverse trade shock look like?</vt:lpstr>
      <vt:lpstr>US trade policy – Australia in an adverse trade shock</vt:lpstr>
      <vt:lpstr>PowerPoint Presentation</vt:lpstr>
      <vt:lpstr>US fiscal challenges</vt:lpstr>
      <vt:lpstr>US fiscal challenges</vt:lpstr>
      <vt:lpstr>US fiscal challenges</vt:lpstr>
      <vt:lpstr>US risk premium – could this affect the US Dollar’s status as THE global reserve currency</vt:lpstr>
      <vt:lpstr>PowerPoint Presentation</vt:lpstr>
      <vt:lpstr>AI adoption</vt:lpstr>
      <vt:lpstr>AI &amp; investment</vt:lpstr>
      <vt:lpstr>US equity valuations</vt:lpstr>
      <vt:lpstr>PowerPoint Presentation</vt:lpstr>
      <vt:lpstr>Australian economy – business cycle</vt:lpstr>
      <vt:lpstr>Australian economy – supply and demand</vt:lpstr>
      <vt:lpstr>Might the RBA start hiking rates?</vt:lpstr>
      <vt:lpstr>PowerPoint Presentation</vt:lpstr>
      <vt:lpstr>Forecasts</vt:lpstr>
      <vt:lpstr>Cross-state forecasts – Population</vt:lpstr>
      <vt:lpstr>Cross-state forecasts – GSP growth</vt:lpstr>
      <vt:lpstr>Cross-state forecasts – Labour market</vt:lpstr>
      <vt:lpstr>PowerPoint Presentation</vt:lpstr>
      <vt:lpstr>Construction activity and costs</vt:lpstr>
      <vt:lpstr>Construction labour and materials</vt:lpstr>
      <vt:lpstr>Construction activity and costs</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dolor sit amet adipiscing sed diam elit</dc:title>
  <dc:creator>Michael Anthonisz</dc:creator>
  <cp:lastModifiedBy>Michael Anthonisz</cp:lastModifiedBy>
  <cp:revision>7</cp:revision>
  <cp:lastPrinted>2025-10-22T00:43:54Z</cp:lastPrinted>
  <dcterms:created xsi:type="dcterms:W3CDTF">2023-02-02T04:53:01Z</dcterms:created>
  <dcterms:modified xsi:type="dcterms:W3CDTF">2025-11-14T05:2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F535857049AC459A593AFBE2F114D90100C766A1E4123BEB4EBF3919D125AC931D</vt:lpwstr>
  </property>
  <property fmtid="{D5CDD505-2E9C-101B-9397-08002B2CF9AE}" pid="3" name="MSIP_Label_d9f380a9-c126-4aea-9d95-a9d63a3058a6_Enabled">
    <vt:lpwstr>true</vt:lpwstr>
  </property>
  <property fmtid="{D5CDD505-2E9C-101B-9397-08002B2CF9AE}" pid="4" name="MSIP_Label_d9f380a9-c126-4aea-9d95-a9d63a3058a6_SetDate">
    <vt:lpwstr>2023-02-02T04:53:02Z</vt:lpwstr>
  </property>
  <property fmtid="{D5CDD505-2E9C-101B-9397-08002B2CF9AE}" pid="5" name="MSIP_Label_d9f380a9-c126-4aea-9d95-a9d63a3058a6_Method">
    <vt:lpwstr>Standard</vt:lpwstr>
  </property>
  <property fmtid="{D5CDD505-2E9C-101B-9397-08002B2CF9AE}" pid="6" name="MSIP_Label_d9f380a9-c126-4aea-9d95-a9d63a3058a6_Name">
    <vt:lpwstr>d9f380a9-c126-4aea-9d95-a9d63a3058a6</vt:lpwstr>
  </property>
  <property fmtid="{D5CDD505-2E9C-101B-9397-08002B2CF9AE}" pid="7" name="MSIP_Label_d9f380a9-c126-4aea-9d95-a9d63a3058a6_SiteId">
    <vt:lpwstr>43fdeb41-087e-4554-acaf-539bd47b4341</vt:lpwstr>
  </property>
  <property fmtid="{D5CDD505-2E9C-101B-9397-08002B2CF9AE}" pid="8" name="MSIP_Label_d9f380a9-c126-4aea-9d95-a9d63a3058a6_ActionId">
    <vt:lpwstr>e5c6dd20-4996-4815-a825-3d07ea4114cc</vt:lpwstr>
  </property>
  <property fmtid="{D5CDD505-2E9C-101B-9397-08002B2CF9AE}" pid="9" name="MSIP_Label_d9f380a9-c126-4aea-9d95-a9d63a3058a6_ContentBits">
    <vt:lpwstr>0</vt:lpwstr>
  </property>
  <property fmtid="{D5CDD505-2E9C-101B-9397-08002B2CF9AE}" pid="10" name="SecurityClassification">
    <vt:lpwstr/>
  </property>
  <property fmtid="{D5CDD505-2E9C-101B-9397-08002B2CF9AE}" pid="11" name="eb73355e0c0d485b8151e23705b2adc1">
    <vt:lpwstr/>
  </property>
  <property fmtid="{D5CDD505-2E9C-101B-9397-08002B2CF9AE}" pid="12" name="SC_Vendor">
    <vt:lpwstr/>
  </property>
  <property fmtid="{D5CDD505-2E9C-101B-9397-08002B2CF9AE}" pid="13" name="ContractType">
    <vt:lpwstr/>
  </property>
  <property fmtid="{D5CDD505-2E9C-101B-9397-08002B2CF9AE}" pid="14" name="g199d103413d4e73bfaf5740f356ba1f">
    <vt:lpwstr/>
  </property>
  <property fmtid="{D5CDD505-2E9C-101B-9397-08002B2CF9AE}" pid="15" name="Team">
    <vt:lpwstr/>
  </property>
  <property fmtid="{D5CDD505-2E9C-101B-9397-08002B2CF9AE}" pid="16" name="eb9dcabd0e7540a5ba68326882201a07">
    <vt:lpwstr/>
  </property>
  <property fmtid="{D5CDD505-2E9C-101B-9397-08002B2CF9AE}" pid="17" name="MediaServiceImageTags">
    <vt:lpwstr/>
  </property>
</Properties>
</file>